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  <p:sldMasterId id="2147483684" r:id="rId3"/>
  </p:sldMasterIdLst>
  <p:notesMasterIdLst>
    <p:notesMasterId r:id="rId9"/>
  </p:notesMasterIdLst>
  <p:sldIdLst>
    <p:sldId id="256" r:id="rId4"/>
    <p:sldId id="7367" r:id="rId5"/>
    <p:sldId id="2147375921" r:id="rId6"/>
    <p:sldId id="2147375869" r:id="rId7"/>
    <p:sldId id="2147375920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E02AE9-F1EF-41E3-AE5A-6CB408D1B50F}" v="323" dt="2022-07-29T16:18:38.2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816" y="6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umma, Eric" userId="e1e85ca8-4f7e-422d-b58a-ce68ac969cb7" providerId="ADAL" clId="{8FE02AE9-F1EF-41E3-AE5A-6CB408D1B50F}"/>
    <pc:docChg chg="undo custSel delSld modSld modMainMaster">
      <pc:chgData name="Thumma, Eric" userId="e1e85ca8-4f7e-422d-b58a-ce68ac969cb7" providerId="ADAL" clId="{8FE02AE9-F1EF-41E3-AE5A-6CB408D1B50F}" dt="2022-07-29T16:18:32.250" v="1099" actId="20577"/>
      <pc:docMkLst>
        <pc:docMk/>
      </pc:docMkLst>
      <pc:sldChg chg="addSp modSp mod">
        <pc:chgData name="Thumma, Eric" userId="e1e85ca8-4f7e-422d-b58a-ce68ac969cb7" providerId="ADAL" clId="{8FE02AE9-F1EF-41E3-AE5A-6CB408D1B50F}" dt="2022-07-29T15:26:20.223" v="115" actId="14100"/>
        <pc:sldMkLst>
          <pc:docMk/>
          <pc:sldMk cId="1293383946" sldId="256"/>
        </pc:sldMkLst>
        <pc:spChg chg="add mod">
          <ac:chgData name="Thumma, Eric" userId="e1e85ca8-4f7e-422d-b58a-ce68ac969cb7" providerId="ADAL" clId="{8FE02AE9-F1EF-41E3-AE5A-6CB408D1B50F}" dt="2022-07-29T15:26:20.223" v="115" actId="14100"/>
          <ac:spMkLst>
            <pc:docMk/>
            <pc:sldMk cId="1293383946" sldId="256"/>
            <ac:spMk id="2" creationId="{ABF1F8D5-BDE6-4D08-A3B9-51E51DAFD819}"/>
          </ac:spMkLst>
        </pc:spChg>
        <pc:spChg chg="mod">
          <ac:chgData name="Thumma, Eric" userId="e1e85ca8-4f7e-422d-b58a-ce68ac969cb7" providerId="ADAL" clId="{8FE02AE9-F1EF-41E3-AE5A-6CB408D1B50F}" dt="2022-07-29T15:25:29.873" v="46" actId="20577"/>
          <ac:spMkLst>
            <pc:docMk/>
            <pc:sldMk cId="1293383946" sldId="256"/>
            <ac:spMk id="3" creationId="{20B8D30E-25AE-40EB-95DB-F76BBE33AE19}"/>
          </ac:spMkLst>
        </pc:spChg>
        <pc:spChg chg="mod">
          <ac:chgData name="Thumma, Eric" userId="e1e85ca8-4f7e-422d-b58a-ce68ac969cb7" providerId="ADAL" clId="{8FE02AE9-F1EF-41E3-AE5A-6CB408D1B50F}" dt="2022-07-29T15:25:45.652" v="50" actId="20577"/>
          <ac:spMkLst>
            <pc:docMk/>
            <pc:sldMk cId="1293383946" sldId="256"/>
            <ac:spMk id="10" creationId="{338FEAC9-FBBB-4BD6-A663-F8B3E1B38280}"/>
          </ac:spMkLst>
        </pc:spChg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1196199925" sldId="370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1741989578" sldId="382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3621736511" sldId="383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4171003362" sldId="391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2986474021" sldId="396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52576559" sldId="397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3861292138" sldId="5823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3878463025" sldId="6480"/>
        </pc:sldMkLst>
      </pc:sldChg>
      <pc:sldChg chg="delSp modSp mod">
        <pc:chgData name="Thumma, Eric" userId="e1e85ca8-4f7e-422d-b58a-ce68ac969cb7" providerId="ADAL" clId="{8FE02AE9-F1EF-41E3-AE5A-6CB408D1B50F}" dt="2022-07-29T16:18:32.250" v="1099" actId="20577"/>
        <pc:sldMkLst>
          <pc:docMk/>
          <pc:sldMk cId="2951549657" sldId="7367"/>
        </pc:sldMkLst>
        <pc:spChg chg="mod">
          <ac:chgData name="Thumma, Eric" userId="e1e85ca8-4f7e-422d-b58a-ce68ac969cb7" providerId="ADAL" clId="{8FE02AE9-F1EF-41E3-AE5A-6CB408D1B50F}" dt="2022-07-29T16:18:11.134" v="1074" actId="1076"/>
          <ac:spMkLst>
            <pc:docMk/>
            <pc:sldMk cId="2951549657" sldId="7367"/>
            <ac:spMk id="7" creationId="{50E8877D-26DA-447A-A4DD-DEDE26090C1D}"/>
          </ac:spMkLst>
        </pc:spChg>
        <pc:spChg chg="mod">
          <ac:chgData name="Thumma, Eric" userId="e1e85ca8-4f7e-422d-b58a-ce68ac969cb7" providerId="ADAL" clId="{8FE02AE9-F1EF-41E3-AE5A-6CB408D1B50F}" dt="2022-07-29T16:18:32.250" v="1099" actId="20577"/>
          <ac:spMkLst>
            <pc:docMk/>
            <pc:sldMk cId="2951549657" sldId="7367"/>
            <ac:spMk id="24" creationId="{52891293-63B8-4737-ABF9-6AFF4C84052F}"/>
          </ac:spMkLst>
        </pc:spChg>
        <pc:spChg chg="del">
          <ac:chgData name="Thumma, Eric" userId="e1e85ca8-4f7e-422d-b58a-ce68ac969cb7" providerId="ADAL" clId="{8FE02AE9-F1EF-41E3-AE5A-6CB408D1B50F}" dt="2022-07-29T16:16:55.880" v="972" actId="478"/>
          <ac:spMkLst>
            <pc:docMk/>
            <pc:sldMk cId="2951549657" sldId="7367"/>
            <ac:spMk id="27" creationId="{252D37D2-AF38-4C42-820C-0C7CFA78D985}"/>
          </ac:spMkLst>
        </pc:spChg>
        <pc:grpChg chg="del">
          <ac:chgData name="Thumma, Eric" userId="e1e85ca8-4f7e-422d-b58a-ce68ac969cb7" providerId="ADAL" clId="{8FE02AE9-F1EF-41E3-AE5A-6CB408D1B50F}" dt="2022-07-29T16:16:53.757" v="971" actId="478"/>
          <ac:grpSpMkLst>
            <pc:docMk/>
            <pc:sldMk cId="2951549657" sldId="7367"/>
            <ac:grpSpMk id="28" creationId="{EB1C52DD-7640-4E86-9DEC-33FB33F5B2F0}"/>
          </ac:grpSpMkLst>
        </pc:grpChg>
        <pc:picChg chg="mod">
          <ac:chgData name="Thumma, Eric" userId="e1e85ca8-4f7e-422d-b58a-ce68ac969cb7" providerId="ADAL" clId="{8FE02AE9-F1EF-41E3-AE5A-6CB408D1B50F}" dt="2022-07-29T16:17:17.938" v="976" actId="1076"/>
          <ac:picMkLst>
            <pc:docMk/>
            <pc:sldMk cId="2951549657" sldId="7367"/>
            <ac:picMk id="76" creationId="{78035E89-8D3A-4649-965E-A8056FE72204}"/>
          </ac:picMkLst>
        </pc:picChg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3808526295" sldId="7387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908926242" sldId="7388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295806514" sldId="8616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4223495447" sldId="8618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3120870773" sldId="8619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4072045637" sldId="8620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2187835130" sldId="8649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3337267154" sldId="8702"/>
        </pc:sldMkLst>
      </pc:sldChg>
      <pc:sldChg chg="modSp del mod">
        <pc:chgData name="Thumma, Eric" userId="e1e85ca8-4f7e-422d-b58a-ce68ac969cb7" providerId="ADAL" clId="{8FE02AE9-F1EF-41E3-AE5A-6CB408D1B50F}" dt="2022-07-29T15:29:38.396" v="155" actId="47"/>
        <pc:sldMkLst>
          <pc:docMk/>
          <pc:sldMk cId="4232852317" sldId="8703"/>
        </pc:sldMkLst>
        <pc:graphicFrameChg chg="mod">
          <ac:chgData name="Thumma, Eric" userId="e1e85ca8-4f7e-422d-b58a-ce68ac969cb7" providerId="ADAL" clId="{8FE02AE9-F1EF-41E3-AE5A-6CB408D1B50F}" dt="2022-07-29T15:26:56.182" v="117"/>
          <ac:graphicFrameMkLst>
            <pc:docMk/>
            <pc:sldMk cId="4232852317" sldId="8703"/>
            <ac:graphicFrameMk id="5" creationId="{5615E114-BF49-406D-88B6-D9FACEE0C210}"/>
          </ac:graphicFrameMkLst>
        </pc:graphicFrameChg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1739317999" sldId="2147375551"/>
        </pc:sldMkLst>
      </pc:sldChg>
      <pc:sldChg chg="addSp delSp modSp mod">
        <pc:chgData name="Thumma, Eric" userId="e1e85ca8-4f7e-422d-b58a-ce68ac969cb7" providerId="ADAL" clId="{8FE02AE9-F1EF-41E3-AE5A-6CB408D1B50F}" dt="2022-07-29T16:13:52.616" v="970" actId="1076"/>
        <pc:sldMkLst>
          <pc:docMk/>
          <pc:sldMk cId="3379622747" sldId="2147375869"/>
        </pc:sldMkLst>
        <pc:spChg chg="add del mod">
          <ac:chgData name="Thumma, Eric" userId="e1e85ca8-4f7e-422d-b58a-ce68ac969cb7" providerId="ADAL" clId="{8FE02AE9-F1EF-41E3-AE5A-6CB408D1B50F}" dt="2022-07-29T15:46:15.776" v="687" actId="1076"/>
          <ac:spMkLst>
            <pc:docMk/>
            <pc:sldMk cId="3379622747" sldId="2147375869"/>
            <ac:spMk id="5" creationId="{8E3CC7EE-C26C-43F9-A34A-DD4BC4E9C1BE}"/>
          </ac:spMkLst>
        </pc:spChg>
        <pc:spChg chg="mod">
          <ac:chgData name="Thumma, Eric" userId="e1e85ca8-4f7e-422d-b58a-ce68ac969cb7" providerId="ADAL" clId="{8FE02AE9-F1EF-41E3-AE5A-6CB408D1B50F}" dt="2022-07-29T15:43:48.988" v="430" actId="20577"/>
          <ac:spMkLst>
            <pc:docMk/>
            <pc:sldMk cId="3379622747" sldId="2147375869"/>
            <ac:spMk id="6" creationId="{14C4B50B-D412-403C-9FC6-1D0529DFDD9F}"/>
          </ac:spMkLst>
        </pc:spChg>
        <pc:spChg chg="mod">
          <ac:chgData name="Thumma, Eric" userId="e1e85ca8-4f7e-422d-b58a-ce68ac969cb7" providerId="ADAL" clId="{8FE02AE9-F1EF-41E3-AE5A-6CB408D1B50F}" dt="2022-07-29T15:47:23.476" v="722" actId="20577"/>
          <ac:spMkLst>
            <pc:docMk/>
            <pc:sldMk cId="3379622747" sldId="2147375869"/>
            <ac:spMk id="8" creationId="{C601E39C-82D6-4E03-A7B6-23D40AFE4B86}"/>
          </ac:spMkLst>
        </pc:spChg>
        <pc:spChg chg="del mod">
          <ac:chgData name="Thumma, Eric" userId="e1e85ca8-4f7e-422d-b58a-ce68ac969cb7" providerId="ADAL" clId="{8FE02AE9-F1EF-41E3-AE5A-6CB408D1B50F}" dt="2022-07-29T15:44:04.082" v="443" actId="478"/>
          <ac:spMkLst>
            <pc:docMk/>
            <pc:sldMk cId="3379622747" sldId="2147375869"/>
            <ac:spMk id="12" creationId="{080FD71F-10F6-48D1-8627-F0E2BC3083DF}"/>
          </ac:spMkLst>
        </pc:spChg>
        <pc:spChg chg="del mod">
          <ac:chgData name="Thumma, Eric" userId="e1e85ca8-4f7e-422d-b58a-ce68ac969cb7" providerId="ADAL" clId="{8FE02AE9-F1EF-41E3-AE5A-6CB408D1B50F}" dt="2022-07-29T15:44:08.514" v="446" actId="478"/>
          <ac:spMkLst>
            <pc:docMk/>
            <pc:sldMk cId="3379622747" sldId="2147375869"/>
            <ac:spMk id="13" creationId="{264F6D80-8E9F-42E6-A989-7B6EAE41FF4C}"/>
          </ac:spMkLst>
        </pc:spChg>
        <pc:spChg chg="del mod">
          <ac:chgData name="Thumma, Eric" userId="e1e85ca8-4f7e-422d-b58a-ce68ac969cb7" providerId="ADAL" clId="{8FE02AE9-F1EF-41E3-AE5A-6CB408D1B50F}" dt="2022-07-29T15:44:17.896" v="450" actId="478"/>
          <ac:spMkLst>
            <pc:docMk/>
            <pc:sldMk cId="3379622747" sldId="2147375869"/>
            <ac:spMk id="14" creationId="{64727786-68EF-4A34-AE1A-16E9D592E303}"/>
          </ac:spMkLst>
        </pc:spChg>
        <pc:spChg chg="add mod">
          <ac:chgData name="Thumma, Eric" userId="e1e85ca8-4f7e-422d-b58a-ce68ac969cb7" providerId="ADAL" clId="{8FE02AE9-F1EF-41E3-AE5A-6CB408D1B50F}" dt="2022-07-29T16:13:52.616" v="970" actId="1076"/>
          <ac:spMkLst>
            <pc:docMk/>
            <pc:sldMk cId="3379622747" sldId="2147375869"/>
            <ac:spMk id="23" creationId="{92C25425-C5BD-4F44-9886-4C1E10AC8353}"/>
          </ac:spMkLst>
        </pc:spChg>
        <pc:graphicFrameChg chg="del modGraphic">
          <ac:chgData name="Thumma, Eric" userId="e1e85ca8-4f7e-422d-b58a-ce68ac969cb7" providerId="ADAL" clId="{8FE02AE9-F1EF-41E3-AE5A-6CB408D1B50F}" dt="2022-07-29T15:44:05.668" v="444" actId="478"/>
          <ac:graphicFrameMkLst>
            <pc:docMk/>
            <pc:sldMk cId="3379622747" sldId="2147375869"/>
            <ac:graphicFrameMk id="11" creationId="{3C8A24EC-F41B-44FB-BB11-6734E5474098}"/>
          </ac:graphicFrameMkLst>
        </pc:graphicFrameChg>
        <pc:picChg chg="del">
          <ac:chgData name="Thumma, Eric" userId="e1e85ca8-4f7e-422d-b58a-ce68ac969cb7" providerId="ADAL" clId="{8FE02AE9-F1EF-41E3-AE5A-6CB408D1B50F}" dt="2022-07-29T15:43:30.601" v="385" actId="478"/>
          <ac:picMkLst>
            <pc:docMk/>
            <pc:sldMk cId="3379622747" sldId="2147375869"/>
            <ac:picMk id="9" creationId="{B8F7FC4B-C515-4D05-9035-12FFC9D6F469}"/>
          </ac:picMkLst>
        </pc:picChg>
        <pc:picChg chg="mod">
          <ac:chgData name="Thumma, Eric" userId="e1e85ca8-4f7e-422d-b58a-ce68ac969cb7" providerId="ADAL" clId="{8FE02AE9-F1EF-41E3-AE5A-6CB408D1B50F}" dt="2022-07-29T15:45:47.174" v="615" actId="1076"/>
          <ac:picMkLst>
            <pc:docMk/>
            <pc:sldMk cId="3379622747" sldId="2147375869"/>
            <ac:picMk id="10" creationId="{B591DDA3-721F-4654-BF5C-098639EF6438}"/>
          </ac:picMkLst>
        </pc:picChg>
        <pc:picChg chg="add del mod">
          <ac:chgData name="Thumma, Eric" userId="e1e85ca8-4f7e-422d-b58a-ce68ac969cb7" providerId="ADAL" clId="{8FE02AE9-F1EF-41E3-AE5A-6CB408D1B50F}" dt="2022-07-29T15:44:29.898" v="456" actId="478"/>
          <ac:picMkLst>
            <pc:docMk/>
            <pc:sldMk cId="3379622747" sldId="2147375869"/>
            <ac:picMk id="16" creationId="{DF5E85FA-A7B0-406C-A885-E5EB70D80ACC}"/>
          </ac:picMkLst>
        </pc:picChg>
        <pc:picChg chg="add del mod">
          <ac:chgData name="Thumma, Eric" userId="e1e85ca8-4f7e-422d-b58a-ce68ac969cb7" providerId="ADAL" clId="{8FE02AE9-F1EF-41E3-AE5A-6CB408D1B50F}" dt="2022-07-29T15:45:00.030" v="465" actId="931"/>
          <ac:picMkLst>
            <pc:docMk/>
            <pc:sldMk cId="3379622747" sldId="2147375869"/>
            <ac:picMk id="18" creationId="{DC70C838-FC14-4546-95A2-6209E9E0D99C}"/>
          </ac:picMkLst>
        </pc:picChg>
        <pc:picChg chg="add mod">
          <ac:chgData name="Thumma, Eric" userId="e1e85ca8-4f7e-422d-b58a-ce68ac969cb7" providerId="ADAL" clId="{8FE02AE9-F1EF-41E3-AE5A-6CB408D1B50F}" dt="2022-07-29T15:45:21.610" v="468" actId="27614"/>
          <ac:picMkLst>
            <pc:docMk/>
            <pc:sldMk cId="3379622747" sldId="2147375869"/>
            <ac:picMk id="20" creationId="{6FDDDD5C-3D89-4C5F-B3C5-77E291EF0DA8}"/>
          </ac:picMkLst>
        </pc:picChg>
        <pc:picChg chg="add del mod">
          <ac:chgData name="Thumma, Eric" userId="e1e85ca8-4f7e-422d-b58a-ce68ac969cb7" providerId="ADAL" clId="{8FE02AE9-F1EF-41E3-AE5A-6CB408D1B50F}" dt="2022-07-29T15:54:03.650" v="947" actId="478"/>
          <ac:picMkLst>
            <pc:docMk/>
            <pc:sldMk cId="3379622747" sldId="2147375869"/>
            <ac:picMk id="22" creationId="{B10A13AB-16E5-49B6-A130-33B6C2E58C3D}"/>
          </ac:picMkLst>
        </pc:picChg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229537605" sldId="2147375884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145199724" sldId="2147375885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222882143" sldId="2147375886"/>
        </pc:sldMkLst>
      </pc:sldChg>
      <pc:sldChg chg="modSp del mod">
        <pc:chgData name="Thumma, Eric" userId="e1e85ca8-4f7e-422d-b58a-ce68ac969cb7" providerId="ADAL" clId="{8FE02AE9-F1EF-41E3-AE5A-6CB408D1B50F}" dt="2022-07-29T15:29:38.396" v="155" actId="47"/>
        <pc:sldMkLst>
          <pc:docMk/>
          <pc:sldMk cId="4212637814" sldId="2147375891"/>
        </pc:sldMkLst>
        <pc:spChg chg="mod">
          <ac:chgData name="Thumma, Eric" userId="e1e85ca8-4f7e-422d-b58a-ce68ac969cb7" providerId="ADAL" clId="{8FE02AE9-F1EF-41E3-AE5A-6CB408D1B50F}" dt="2022-07-29T15:26:57.290" v="152" actId="20577"/>
          <ac:spMkLst>
            <pc:docMk/>
            <pc:sldMk cId="4212637814" sldId="2147375891"/>
            <ac:spMk id="31" creationId="{5D3F02DE-8125-8CD1-1ED5-6CF87CD01DFB}"/>
          </ac:spMkLst>
        </pc:spChg>
        <pc:spChg chg="mod">
          <ac:chgData name="Thumma, Eric" userId="e1e85ca8-4f7e-422d-b58a-ce68ac969cb7" providerId="ADAL" clId="{8FE02AE9-F1EF-41E3-AE5A-6CB408D1B50F}" dt="2022-07-29T15:26:57.282" v="150" actId="20577"/>
          <ac:spMkLst>
            <pc:docMk/>
            <pc:sldMk cId="4212637814" sldId="2147375891"/>
            <ac:spMk id="33" creationId="{24A20F9D-E9D3-9512-D689-F9FB441737E9}"/>
          </ac:spMkLst>
        </pc:spChg>
        <pc:spChg chg="mod">
          <ac:chgData name="Thumma, Eric" userId="e1e85ca8-4f7e-422d-b58a-ce68ac969cb7" providerId="ADAL" clId="{8FE02AE9-F1EF-41E3-AE5A-6CB408D1B50F}" dt="2022-07-29T15:26:57.286" v="151" actId="20577"/>
          <ac:spMkLst>
            <pc:docMk/>
            <pc:sldMk cId="4212637814" sldId="2147375891"/>
            <ac:spMk id="48" creationId="{DB158AF3-47E5-22CD-B520-139A40593D9B}"/>
          </ac:spMkLst>
        </pc:spChg>
      </pc:sldChg>
      <pc:sldChg chg="modSp del mod">
        <pc:chgData name="Thumma, Eric" userId="e1e85ca8-4f7e-422d-b58a-ce68ac969cb7" providerId="ADAL" clId="{8FE02AE9-F1EF-41E3-AE5A-6CB408D1B50F}" dt="2022-07-29T15:29:27.421" v="154" actId="47"/>
        <pc:sldMkLst>
          <pc:docMk/>
          <pc:sldMk cId="4038279725" sldId="2147375909"/>
        </pc:sldMkLst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4" creationId="{2ED3CFBB-D8B5-42D6-8679-CDF4984072E5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23" creationId="{815F87E7-222F-42BF-9995-D2585622300D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24" creationId="{C4F5D73D-8638-4845-81B8-8254B03CA70D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29" creationId="{9DBDE6C6-CCEC-4AD0-9E61-1DD1B24F08C6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0" creationId="{AD48B400-BBC3-40CD-B9DB-EF8B2E118CE4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1" creationId="{C4281DB1-7710-4423-95A4-5E23331E3AA6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3" creationId="{623A289F-300D-405C-8DC1-BD8D65DC72E7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4" creationId="{158391D4-7D0F-46E4-A8F9-224911C671E4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7" creationId="{25C03F1B-52F8-451F-94E2-50F2EE7E653C}"/>
          </ac:spMkLst>
        </pc:spChg>
        <pc:spChg chg="mod">
          <ac:chgData name="Thumma, Eric" userId="e1e85ca8-4f7e-422d-b58a-ce68ac969cb7" providerId="ADAL" clId="{8FE02AE9-F1EF-41E3-AE5A-6CB408D1B50F}" dt="2022-07-29T15:28:44.513" v="153" actId="1076"/>
          <ac:spMkLst>
            <pc:docMk/>
            <pc:sldMk cId="4038279725" sldId="2147375909"/>
            <ac:spMk id="38" creationId="{224B1437-3B74-47A6-9289-9E24E97BE256}"/>
          </ac:spMkLst>
        </pc:spChg>
      </pc:sldChg>
      <pc:sldChg chg="modSp del mod">
        <pc:chgData name="Thumma, Eric" userId="e1e85ca8-4f7e-422d-b58a-ce68ac969cb7" providerId="ADAL" clId="{8FE02AE9-F1EF-41E3-AE5A-6CB408D1B50F}" dt="2022-07-29T15:29:38.396" v="155" actId="47"/>
        <pc:sldMkLst>
          <pc:docMk/>
          <pc:sldMk cId="1187400113" sldId="2147375911"/>
        </pc:sldMkLst>
        <pc:graphicFrameChg chg="mod">
          <ac:chgData name="Thumma, Eric" userId="e1e85ca8-4f7e-422d-b58a-ce68ac969cb7" providerId="ADAL" clId="{8FE02AE9-F1EF-41E3-AE5A-6CB408D1B50F}" dt="2022-07-29T15:26:57.162" v="149"/>
          <ac:graphicFrameMkLst>
            <pc:docMk/>
            <pc:sldMk cId="1187400113" sldId="2147375911"/>
            <ac:graphicFrameMk id="5" creationId="{5615E114-BF49-406D-88B6-D9FACEE0C210}"/>
          </ac:graphicFrameMkLst>
        </pc:graphicFrameChg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1067683426" sldId="2147375912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4046087545" sldId="2147375916"/>
        </pc:sldMkLst>
      </pc:sldChg>
      <pc:sldChg chg="del">
        <pc:chgData name="Thumma, Eric" userId="e1e85ca8-4f7e-422d-b58a-ce68ac969cb7" providerId="ADAL" clId="{8FE02AE9-F1EF-41E3-AE5A-6CB408D1B50F}" dt="2022-07-29T15:29:27.421" v="154" actId="47"/>
        <pc:sldMkLst>
          <pc:docMk/>
          <pc:sldMk cId="3703779227" sldId="2147375917"/>
        </pc:sldMkLst>
      </pc:sldChg>
      <pc:sldChg chg="del">
        <pc:chgData name="Thumma, Eric" userId="e1e85ca8-4f7e-422d-b58a-ce68ac969cb7" providerId="ADAL" clId="{8FE02AE9-F1EF-41E3-AE5A-6CB408D1B50F}" dt="2022-07-29T15:29:38.396" v="155" actId="47"/>
        <pc:sldMkLst>
          <pc:docMk/>
          <pc:sldMk cId="2502457296" sldId="2147375919"/>
        </pc:sldMkLst>
      </pc:sldChg>
      <pc:sldChg chg="modSp mod">
        <pc:chgData name="Thumma, Eric" userId="e1e85ca8-4f7e-422d-b58a-ce68ac969cb7" providerId="ADAL" clId="{8FE02AE9-F1EF-41E3-AE5A-6CB408D1B50F}" dt="2022-07-29T15:55:44.987" v="966" actId="14100"/>
        <pc:sldMkLst>
          <pc:docMk/>
          <pc:sldMk cId="1195429903" sldId="2147375921"/>
        </pc:sldMkLst>
        <pc:spChg chg="mod">
          <ac:chgData name="Thumma, Eric" userId="e1e85ca8-4f7e-422d-b58a-ce68ac969cb7" providerId="ADAL" clId="{8FE02AE9-F1EF-41E3-AE5A-6CB408D1B50F}" dt="2022-07-29T15:42:53.991" v="271" actId="20577"/>
          <ac:spMkLst>
            <pc:docMk/>
            <pc:sldMk cId="1195429903" sldId="2147375921"/>
            <ac:spMk id="30" creationId="{F05EEE25-D1C1-459A-AF80-C16595834516}"/>
          </ac:spMkLst>
        </pc:spChg>
        <pc:spChg chg="mod">
          <ac:chgData name="Thumma, Eric" userId="e1e85ca8-4f7e-422d-b58a-ce68ac969cb7" providerId="ADAL" clId="{8FE02AE9-F1EF-41E3-AE5A-6CB408D1B50F}" dt="2022-07-29T15:43:55.313" v="440" actId="20577"/>
          <ac:spMkLst>
            <pc:docMk/>
            <pc:sldMk cId="1195429903" sldId="2147375921"/>
            <ac:spMk id="33" creationId="{60ACC033-70DC-424C-8934-0FBB377A11F8}"/>
          </ac:spMkLst>
        </pc:spChg>
        <pc:spChg chg="mod">
          <ac:chgData name="Thumma, Eric" userId="e1e85ca8-4f7e-422d-b58a-ce68ac969cb7" providerId="ADAL" clId="{8FE02AE9-F1EF-41E3-AE5A-6CB408D1B50F}" dt="2022-07-29T15:42:34.114" v="193" actId="20577"/>
          <ac:spMkLst>
            <pc:docMk/>
            <pc:sldMk cId="1195429903" sldId="2147375921"/>
            <ac:spMk id="34" creationId="{00E803B4-CB66-4D78-A442-6F145CD3A3F9}"/>
          </ac:spMkLst>
        </pc:spChg>
        <pc:spChg chg="mod">
          <ac:chgData name="Thumma, Eric" userId="e1e85ca8-4f7e-422d-b58a-ce68ac969cb7" providerId="ADAL" clId="{8FE02AE9-F1EF-41E3-AE5A-6CB408D1B50F}" dt="2022-07-29T15:55:44.987" v="966" actId="14100"/>
          <ac:spMkLst>
            <pc:docMk/>
            <pc:sldMk cId="1195429903" sldId="2147375921"/>
            <ac:spMk id="77" creationId="{9BA89BCA-FFA8-4237-8A7E-B49C44E5E3E7}"/>
          </ac:spMkLst>
        </pc:spChg>
        <pc:spChg chg="mod">
          <ac:chgData name="Thumma, Eric" userId="e1e85ca8-4f7e-422d-b58a-ce68ac969cb7" providerId="ADAL" clId="{8FE02AE9-F1EF-41E3-AE5A-6CB408D1B50F}" dt="2022-07-29T15:55:42.026" v="965" actId="14100"/>
          <ac:spMkLst>
            <pc:docMk/>
            <pc:sldMk cId="1195429903" sldId="2147375921"/>
            <ac:spMk id="79" creationId="{A922A01E-99F4-4BBB-8EDC-C68B801A8E72}"/>
          </ac:spMkLst>
        </pc:spChg>
        <pc:spChg chg="mod">
          <ac:chgData name="Thumma, Eric" userId="e1e85ca8-4f7e-422d-b58a-ce68ac969cb7" providerId="ADAL" clId="{8FE02AE9-F1EF-41E3-AE5A-6CB408D1B50F}" dt="2022-07-29T15:50:27.174" v="946" actId="20577"/>
          <ac:spMkLst>
            <pc:docMk/>
            <pc:sldMk cId="1195429903" sldId="2147375921"/>
            <ac:spMk id="97" creationId="{08BBD226-8A89-4811-9516-3BAC9317CFFF}"/>
          </ac:spMkLst>
        </pc:spChg>
      </pc:sldChg>
      <pc:sldMasterChg chg="addSp modSp mod delSldLayout">
        <pc:chgData name="Thumma, Eric" userId="e1e85ca8-4f7e-422d-b58a-ce68ac969cb7" providerId="ADAL" clId="{8FE02AE9-F1EF-41E3-AE5A-6CB408D1B50F}" dt="2022-07-29T15:29:38.396" v="155" actId="47"/>
        <pc:sldMasterMkLst>
          <pc:docMk/>
          <pc:sldMasterMk cId="950404597" sldId="2147483660"/>
        </pc:sldMasterMkLst>
        <pc:graphicFrameChg chg="add mod ord modVis">
          <ac:chgData name="Thumma, Eric" userId="e1e85ca8-4f7e-422d-b58a-ce68ac969cb7" providerId="ADAL" clId="{8FE02AE9-F1EF-41E3-AE5A-6CB408D1B50F}" dt="2022-07-29T15:26:56.247" v="132"/>
          <ac:graphicFrameMkLst>
            <pc:docMk/>
            <pc:sldMasterMk cId="950404597" sldId="2147483660"/>
            <ac:graphicFrameMk id="3" creationId="{D142A9C1-9C82-4E15-A0D8-9FFE0BB4A553}"/>
          </ac:graphicFrameMkLst>
        </pc:graphicFrameChg>
        <pc:sldLayoutChg chg="del">
          <pc:chgData name="Thumma, Eric" userId="e1e85ca8-4f7e-422d-b58a-ce68ac969cb7" providerId="ADAL" clId="{8FE02AE9-F1EF-41E3-AE5A-6CB408D1B50F}" dt="2022-07-29T15:29:38.396" v="155" actId="47"/>
          <pc:sldLayoutMkLst>
            <pc:docMk/>
            <pc:sldMasterMk cId="950404597" sldId="2147483660"/>
            <pc:sldLayoutMk cId="396923744" sldId="2147483673"/>
          </pc:sldLayoutMkLst>
        </pc:sldLayoutChg>
        <pc:sldLayoutChg chg="del">
          <pc:chgData name="Thumma, Eric" userId="e1e85ca8-4f7e-422d-b58a-ce68ac969cb7" providerId="ADAL" clId="{8FE02AE9-F1EF-41E3-AE5A-6CB408D1B50F}" dt="2022-07-29T15:29:38.396" v="155" actId="47"/>
          <pc:sldLayoutMkLst>
            <pc:docMk/>
            <pc:sldMasterMk cId="950404597" sldId="2147483660"/>
            <pc:sldLayoutMk cId="2740396414" sldId="2147483674"/>
          </pc:sldLayoutMkLst>
        </pc:sldLayoutChg>
        <pc:sldLayoutChg chg="del">
          <pc:chgData name="Thumma, Eric" userId="e1e85ca8-4f7e-422d-b58a-ce68ac969cb7" providerId="ADAL" clId="{8FE02AE9-F1EF-41E3-AE5A-6CB408D1B50F}" dt="2022-07-29T15:29:38.396" v="155" actId="47"/>
          <pc:sldLayoutMkLst>
            <pc:docMk/>
            <pc:sldMasterMk cId="950404597" sldId="2147483660"/>
            <pc:sldLayoutMk cId="3594984863" sldId="2147483676"/>
          </pc:sldLayoutMkLst>
        </pc:sldLayoutChg>
      </pc:sldMasterChg>
      <pc:sldMasterChg chg="addSp modSp mod delSldLayout">
        <pc:chgData name="Thumma, Eric" userId="e1e85ca8-4f7e-422d-b58a-ce68ac969cb7" providerId="ADAL" clId="{8FE02AE9-F1EF-41E3-AE5A-6CB408D1B50F}" dt="2022-07-29T15:29:38.396" v="155" actId="47"/>
        <pc:sldMasterMkLst>
          <pc:docMk/>
          <pc:sldMasterMk cId="2211558253" sldId="2147483680"/>
        </pc:sldMasterMkLst>
        <pc:graphicFrameChg chg="add mod ord modVis">
          <ac:chgData name="Thumma, Eric" userId="e1e85ca8-4f7e-422d-b58a-ce68ac969cb7" providerId="ADAL" clId="{8FE02AE9-F1EF-41E3-AE5A-6CB408D1B50F}" dt="2022-07-29T15:26:56.284" v="147"/>
          <ac:graphicFrameMkLst>
            <pc:docMk/>
            <pc:sldMasterMk cId="2211558253" sldId="2147483680"/>
            <ac:graphicFrameMk id="3" creationId="{12586F06-7EEE-4461-AA8F-3D599F1DEF8F}"/>
          </ac:graphicFrameMkLst>
        </pc:graphicFrameChg>
        <pc:sldLayoutChg chg="del">
          <pc:chgData name="Thumma, Eric" userId="e1e85ca8-4f7e-422d-b58a-ce68ac969cb7" providerId="ADAL" clId="{8FE02AE9-F1EF-41E3-AE5A-6CB408D1B50F}" dt="2022-07-29T15:29:38.396" v="155" actId="47"/>
          <pc:sldLayoutMkLst>
            <pc:docMk/>
            <pc:sldMasterMk cId="2211558253" sldId="2147483680"/>
            <pc:sldLayoutMk cId="167831256" sldId="2147483683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FABAFD-E758-427B-B930-FC1481C2515E}" type="datetimeFigureOut">
              <a:rPr lang="en-US" smtClean="0"/>
              <a:t>7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B88BA-8A64-4469-AE97-2E2B1EB5AF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07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564633-4932-4136-9220-AEF6DB686F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219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2E13F22-F438-447B-9E31-113A05DDB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00" y="2276475"/>
            <a:ext cx="10922400" cy="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CF761323-5A40-40BD-B2BA-F1C62F7A81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4876" y="2454407"/>
            <a:ext cx="6402323" cy="97459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tx2"/>
                </a:solidFill>
                <a:latin typeface="Lato Black" panose="020F0A0202020403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Title of cover page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C9394B0-F116-4663-AED6-8458CF2E1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4876" y="1672328"/>
            <a:ext cx="6235848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Business division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93F88CC-E590-4A85-8CE7-7F8560D90F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4877" y="3507403"/>
            <a:ext cx="6235848" cy="47299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Subheading of cover pag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07A44A41-CE13-414F-A254-F2690F30E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4877" y="5914309"/>
            <a:ext cx="2147444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Date of present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B74A17-7A45-404C-BCD5-DB3D201A1C4D}"/>
              </a:ext>
            </a:extLst>
          </p:cNvPr>
          <p:cNvSpPr/>
          <p:nvPr userDrawn="1"/>
        </p:nvSpPr>
        <p:spPr>
          <a:xfrm>
            <a:off x="9179169" y="0"/>
            <a:ext cx="3012831" cy="1406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9959B6-2A50-4BF3-BBCB-3A5EBC420228}"/>
              </a:ext>
            </a:extLst>
          </p:cNvPr>
          <p:cNvSpPr/>
          <p:nvPr userDrawn="1"/>
        </p:nvSpPr>
        <p:spPr>
          <a:xfrm>
            <a:off x="0" y="6332660"/>
            <a:ext cx="1126901" cy="52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F51623-A4D7-48AA-A0FF-480B77DB34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88" y="1090883"/>
            <a:ext cx="2491665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855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B33F4DB-693E-4F13-A4AF-4B634E9F8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308" y="5800221"/>
            <a:ext cx="1856232" cy="660770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9D138C62-E84C-464F-A586-67009CCDB9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3200" cy="25236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dirty="0"/>
              <a:t>Drag </a:t>
            </a:r>
            <a:r>
              <a:rPr lang="es-ES" dirty="0" err="1"/>
              <a:t>image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D77E44-E605-41AD-87BF-1E783A99CE33}"/>
              </a:ext>
            </a:extLst>
          </p:cNvPr>
          <p:cNvSpPr/>
          <p:nvPr userDrawn="1"/>
        </p:nvSpPr>
        <p:spPr>
          <a:xfrm>
            <a:off x="0" y="6332660"/>
            <a:ext cx="1126901" cy="52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9D9FF25-8EFC-4D29-B9AB-DC4A665A1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6282" y="5914309"/>
            <a:ext cx="2124000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Date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3733E2F-AA8F-4964-8507-AC962CA5DE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70282" y="6128490"/>
            <a:ext cx="7020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1D2E38-22C4-42E9-8AFF-0F3CDA5642AC}"/>
              </a:ext>
            </a:extLst>
          </p:cNvPr>
          <p:cNvSpPr/>
          <p:nvPr userDrawn="1"/>
        </p:nvSpPr>
        <p:spPr>
          <a:xfrm>
            <a:off x="9179169" y="0"/>
            <a:ext cx="3012831" cy="1406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39B533E-999F-489C-8C3A-448EA052CF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23600"/>
          </a:xfrm>
          <a:prstGeom prst="rect">
            <a:avLst/>
          </a:prstGeom>
          <a:gradFill>
            <a:gsLst>
              <a:gs pos="100000">
                <a:schemeClr val="accent2">
                  <a:lumMod val="60000"/>
                  <a:lumOff val="40000"/>
                  <a:alpha val="41000"/>
                </a:schemeClr>
              </a:gs>
              <a:gs pos="85000">
                <a:schemeClr val="accent2">
                  <a:alpha val="21000"/>
                </a:schemeClr>
              </a:gs>
              <a:gs pos="0">
                <a:schemeClr val="accent4">
                  <a:alpha val="73000"/>
                </a:schemeClr>
              </a:gs>
              <a:gs pos="47000">
                <a:schemeClr val="tx2">
                  <a:alpha val="37000"/>
                </a:schemeClr>
              </a:gs>
            </a:gsLst>
            <a:lin ang="18900000" scaled="1"/>
          </a:gra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26988EE-5B4C-4829-AC26-4555999AD15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282" y="2919470"/>
            <a:ext cx="8224740" cy="147170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over</a:t>
            </a:r>
            <a:r>
              <a:rPr lang="es-ES" dirty="0"/>
              <a:t> pag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87A2F3F-172E-4C7C-95E4-4B8719FA0D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6282" y="5077211"/>
            <a:ext cx="8224740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Business </a:t>
            </a:r>
            <a:r>
              <a:rPr lang="es-ES" dirty="0" err="1"/>
              <a:t>division</a:t>
            </a:r>
            <a:endParaRPr lang="es-ES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B8E164A-FD86-49A3-BC61-7FA4FF7AA8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6282" y="4395893"/>
            <a:ext cx="8224740" cy="47299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Subheading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over</a:t>
            </a:r>
            <a:r>
              <a:rPr lang="es-ES" dirty="0"/>
              <a:t> page</a:t>
            </a:r>
          </a:p>
        </p:txBody>
      </p:sp>
    </p:spTree>
    <p:extLst>
      <p:ext uri="{BB962C8B-B14F-4D97-AF65-F5344CB8AC3E}">
        <p14:creationId xmlns:p14="http://schemas.microsoft.com/office/powerpoint/2010/main" val="1105600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F45D6DA-0F5A-48FC-BA95-A5D3A3BCD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226743"/>
            <a:ext cx="8036178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Slide title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76CBA53-1ECD-427E-B2D3-662B3CAE7E57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00000" y="829240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6399681-AC2E-40EE-BE2D-CE3BF20DF3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619172" y="815332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00E7E4-CC29-436A-BB1B-106B191CA8D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3233" y="942237"/>
            <a:ext cx="10781407" cy="6581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None/>
              <a:defRPr sz="1600">
                <a:solidFill>
                  <a:schemeClr val="accent5"/>
                </a:solidFill>
              </a:defRPr>
            </a:lvl1pPr>
            <a:lvl2pPr marL="6858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200">
                <a:solidFill>
                  <a:schemeClr val="accent5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200">
                <a:solidFill>
                  <a:schemeClr val="accent5"/>
                </a:solidFill>
              </a:defRPr>
            </a:lvl3pPr>
            <a:lvl4pPr marL="16002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050">
                <a:solidFill>
                  <a:schemeClr val="accent5"/>
                </a:solidFill>
              </a:defRPr>
            </a:lvl4pPr>
            <a:lvl5pPr marL="2057400" indent="-228600">
              <a:lnSpc>
                <a:spcPct val="100000"/>
              </a:lnSpc>
              <a:buClr>
                <a:schemeClr val="bg2"/>
              </a:buClr>
              <a:buFont typeface="Lato Light" panose="020F0302020204030203" pitchFamily="34" charset="0"/>
              <a:buChar char="–"/>
              <a:defRPr sz="1050">
                <a:solidFill>
                  <a:schemeClr val="accent5"/>
                </a:solidFill>
              </a:defRPr>
            </a:lvl5pPr>
          </a:lstStyle>
          <a:p>
            <a:pPr lvl="0"/>
            <a:r>
              <a:rPr lang="es-ES" noProof="0" dirty="0" err="1"/>
              <a:t>Lorem</a:t>
            </a:r>
            <a:r>
              <a:rPr lang="es-ES" noProof="0" dirty="0"/>
              <a:t> </a:t>
            </a:r>
            <a:r>
              <a:rPr lang="es-ES" noProof="0" dirty="0" err="1"/>
              <a:t>ipsum</a:t>
            </a:r>
            <a:r>
              <a:rPr lang="es-ES" noProof="0" dirty="0"/>
              <a:t> dolor </a:t>
            </a:r>
            <a:r>
              <a:rPr lang="es-ES" noProof="0" dirty="0" err="1"/>
              <a:t>sit</a:t>
            </a:r>
            <a:r>
              <a:rPr lang="es-ES" noProof="0" dirty="0"/>
              <a:t> </a:t>
            </a:r>
            <a:r>
              <a:rPr lang="es-ES" noProof="0" dirty="0" err="1"/>
              <a:t>amet</a:t>
            </a:r>
            <a:r>
              <a:rPr lang="es-ES" noProof="0" dirty="0"/>
              <a:t>, </a:t>
            </a:r>
            <a:r>
              <a:rPr lang="es-ES" noProof="0" dirty="0" err="1"/>
              <a:t>consectetur</a:t>
            </a:r>
            <a:r>
              <a:rPr lang="es-ES" noProof="0" dirty="0"/>
              <a:t> </a:t>
            </a:r>
            <a:r>
              <a:rPr lang="es-ES" noProof="0" dirty="0" err="1"/>
              <a:t>adipiscing</a:t>
            </a:r>
            <a:r>
              <a:rPr lang="es-ES" noProof="0" dirty="0"/>
              <a:t> </a:t>
            </a:r>
            <a:r>
              <a:rPr lang="es-ES" noProof="0" dirty="0" err="1"/>
              <a:t>elit</a:t>
            </a:r>
            <a:r>
              <a:rPr lang="es-ES" noProof="0" dirty="0"/>
              <a:t>. Sed mi </a:t>
            </a:r>
            <a:r>
              <a:rPr lang="es-ES" noProof="0" dirty="0" err="1"/>
              <a:t>purus</a:t>
            </a:r>
            <a:r>
              <a:rPr lang="es-ES" noProof="0" dirty="0"/>
              <a:t>, </a:t>
            </a:r>
            <a:r>
              <a:rPr lang="es-ES" noProof="0" dirty="0" err="1"/>
              <a:t>condimentum</a:t>
            </a:r>
            <a:r>
              <a:rPr lang="es-ES" noProof="0" dirty="0"/>
              <a:t> non mi in, </a:t>
            </a:r>
            <a:r>
              <a:rPr lang="es-ES" noProof="0" dirty="0" err="1"/>
              <a:t>scelerisque</a:t>
            </a:r>
            <a:r>
              <a:rPr lang="es-ES" noProof="0" dirty="0"/>
              <a:t> </a:t>
            </a:r>
            <a:r>
              <a:rPr lang="es-ES" noProof="0" dirty="0" err="1"/>
              <a:t>hendrerit</a:t>
            </a:r>
            <a:r>
              <a:rPr lang="es-ES" noProof="0" dirty="0"/>
              <a:t> urna. </a:t>
            </a:r>
            <a:r>
              <a:rPr lang="es-ES" noProof="0" dirty="0" err="1"/>
              <a:t>Curabitur</a:t>
            </a:r>
            <a:r>
              <a:rPr lang="es-ES" noProof="0" dirty="0"/>
              <a:t> </a:t>
            </a:r>
            <a:r>
              <a:rPr lang="es-ES" noProof="0" dirty="0" err="1"/>
              <a:t>eu</a:t>
            </a:r>
            <a:r>
              <a:rPr lang="es-ES" noProof="0" dirty="0"/>
              <a:t> </a:t>
            </a:r>
            <a:r>
              <a:rPr lang="es-ES" noProof="0" dirty="0" err="1"/>
              <a:t>rutrum</a:t>
            </a:r>
            <a:r>
              <a:rPr lang="es-ES" noProof="0" dirty="0"/>
              <a:t> </a:t>
            </a:r>
            <a:r>
              <a:rPr lang="es-ES" noProof="0" dirty="0" err="1"/>
              <a:t>tellus</a:t>
            </a:r>
            <a:r>
              <a:rPr lang="es-ES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04448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áfico y conclusiones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5C1C5DD-7146-48B3-B2D4-E8E106D048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0000" y="1065213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F45D6DA-0F5A-48FC-BA95-A5D3A3BCD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47969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0">
                <a:solidFill>
                  <a:schemeClr val="accent5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Graph and conclusions slide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AA3C6B4-F6FE-4711-8486-C7F9552AFF4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9172" y="1051305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049FBC2D-1B24-4AC5-AEF0-141C3480B70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10292" y="125239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5755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756859-5F38-4F5B-9E6A-A478F887AE4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0000" y="1065213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DF7D9034-73B5-43C0-ACD3-2A2C27DBAF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47969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0">
                <a:solidFill>
                  <a:schemeClr val="accent5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Main</a:t>
            </a:r>
            <a:r>
              <a:rPr lang="es-ES" dirty="0"/>
              <a:t> </a:t>
            </a:r>
            <a:r>
              <a:rPr lang="es-ES" dirty="0" err="1"/>
              <a:t>messages</a:t>
            </a:r>
            <a:endParaRPr lang="es-E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B286626-73A5-46F0-B505-F883F95CD9C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9172" y="1051305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7D3DAE4-EA04-4964-851C-82A77396E44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0293" y="1173738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UBHEADING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98BD176-A194-42E1-91EE-8ADD4954C63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10292" y="125239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96321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incipales mensaj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5C1C5DD-7146-48B3-B2D4-E8E106D048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0000" y="1065213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F45D6DA-0F5A-48FC-BA95-A5D3A3BCD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47969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0">
                <a:solidFill>
                  <a:schemeClr val="accent5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err="1"/>
              <a:t>Main</a:t>
            </a:r>
            <a:r>
              <a:rPr lang="es-ES"/>
              <a:t> </a:t>
            </a:r>
            <a:r>
              <a:rPr lang="es-ES" err="1"/>
              <a:t>messages</a:t>
            </a:r>
            <a:endParaRPr lang="es-E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AA3C6B4-F6FE-4711-8486-C7F9552AFF4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9172" y="1051305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773A029-2A97-4838-BCE0-4FEEDBB125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0293" y="1173738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SUB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55AC2E5-1CF6-456C-A925-C9B959E4BEE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10292" y="125239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3582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9D138C62-E84C-464F-A586-67009CCDB9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3200" cy="25236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dirty="0"/>
              <a:t>Drag </a:t>
            </a:r>
            <a:r>
              <a:rPr lang="es-ES" dirty="0" err="1"/>
              <a:t>image</a:t>
            </a:r>
            <a:r>
              <a:rPr lang="es-ES" dirty="0"/>
              <a:t> </a:t>
            </a:r>
            <a:r>
              <a:rPr lang="es-ES" dirty="0" err="1"/>
              <a:t>her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D77E44-E605-41AD-87BF-1E783A99CE33}"/>
              </a:ext>
            </a:extLst>
          </p:cNvPr>
          <p:cNvSpPr/>
          <p:nvPr userDrawn="1"/>
        </p:nvSpPr>
        <p:spPr>
          <a:xfrm>
            <a:off x="0" y="6332660"/>
            <a:ext cx="1126901" cy="52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9D9FF25-8EFC-4D29-B9AB-DC4A665A1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6282" y="5914309"/>
            <a:ext cx="2124000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Date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3733E2F-AA8F-4964-8507-AC962CA5DE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70282" y="6128490"/>
            <a:ext cx="7020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1D2E38-22C4-42E9-8AFF-0F3CDA5642AC}"/>
              </a:ext>
            </a:extLst>
          </p:cNvPr>
          <p:cNvSpPr/>
          <p:nvPr userDrawn="1"/>
        </p:nvSpPr>
        <p:spPr>
          <a:xfrm>
            <a:off x="9179169" y="0"/>
            <a:ext cx="3012831" cy="1406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39B533E-999F-489C-8C3A-448EA052CF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2000" cy="2523600"/>
          </a:xfrm>
          <a:prstGeom prst="rect">
            <a:avLst/>
          </a:prstGeom>
          <a:gradFill>
            <a:gsLst>
              <a:gs pos="100000">
                <a:schemeClr val="accent2">
                  <a:lumMod val="60000"/>
                  <a:lumOff val="40000"/>
                  <a:alpha val="41000"/>
                </a:schemeClr>
              </a:gs>
              <a:gs pos="85000">
                <a:schemeClr val="accent2">
                  <a:alpha val="21000"/>
                </a:schemeClr>
              </a:gs>
              <a:gs pos="0">
                <a:schemeClr val="accent4">
                  <a:alpha val="73000"/>
                </a:schemeClr>
              </a:gs>
              <a:gs pos="47000">
                <a:schemeClr val="tx2">
                  <a:alpha val="37000"/>
                </a:schemeClr>
              </a:gs>
            </a:gsLst>
            <a:lin ang="18900000" scaled="1"/>
          </a:gra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26988EE-5B4C-4829-AC26-4555999AD15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6282" y="2919470"/>
            <a:ext cx="8224740" cy="147170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0">
                <a:solidFill>
                  <a:schemeClr val="accent5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over</a:t>
            </a:r>
            <a:r>
              <a:rPr lang="es-ES" dirty="0"/>
              <a:t> pag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87A2F3F-172E-4C7C-95E4-4B8719FA0D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6282" y="5077211"/>
            <a:ext cx="8224740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Business </a:t>
            </a:r>
            <a:r>
              <a:rPr lang="es-ES" dirty="0" err="1"/>
              <a:t>division</a:t>
            </a:r>
            <a:endParaRPr lang="es-ES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B8E164A-FD86-49A3-BC61-7FA4FF7AA8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6282" y="4395893"/>
            <a:ext cx="8224740" cy="47299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Subheading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over</a:t>
            </a:r>
            <a:r>
              <a:rPr lang="es-ES" dirty="0"/>
              <a:t> pag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FD5AE25-8BC4-4FF5-B529-BDCC8E0FE7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64241" y="5922390"/>
            <a:ext cx="1672772" cy="41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842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2E13F22-F438-447B-9E31-113A05DDB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00" y="2276475"/>
            <a:ext cx="10922400" cy="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CF761323-5A40-40BD-B2BA-F1C62F7A81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4876" y="2454407"/>
            <a:ext cx="6402323" cy="97459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tx2"/>
                </a:solidFill>
                <a:latin typeface="Lato Black" panose="020F0A0202020403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itle of cover page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C9394B0-F116-4663-AED6-8458CF2E1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4876" y="1672328"/>
            <a:ext cx="6235848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Business division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93F88CC-E590-4A85-8CE7-7F8560D90F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4877" y="3507403"/>
            <a:ext cx="6235848" cy="47299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Subheading of cover pag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07A44A41-CE13-414F-A254-F2690F30E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4877" y="5914309"/>
            <a:ext cx="2147444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Date of present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B74A17-7A45-404C-BCD5-DB3D201A1C4D}"/>
              </a:ext>
            </a:extLst>
          </p:cNvPr>
          <p:cNvSpPr/>
          <p:nvPr userDrawn="1"/>
        </p:nvSpPr>
        <p:spPr>
          <a:xfrm>
            <a:off x="9179169" y="0"/>
            <a:ext cx="3012831" cy="1406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9959B6-2A50-4BF3-BBCB-3A5EBC420228}"/>
              </a:ext>
            </a:extLst>
          </p:cNvPr>
          <p:cNvSpPr/>
          <p:nvPr userDrawn="1"/>
        </p:nvSpPr>
        <p:spPr>
          <a:xfrm>
            <a:off x="0" y="6332660"/>
            <a:ext cx="1126901" cy="52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2">
            <a:extLst>
              <a:ext uri="{FF2B5EF4-FFF2-40B4-BE49-F238E27FC236}">
                <a16:creationId xmlns:a16="http://schemas.microsoft.com/office/drawing/2014/main" id="{84DBA0A4-0A98-449F-AF00-AA229D77AF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8305" y="1564873"/>
            <a:ext cx="3181057" cy="5256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7999B576-99EF-4675-9263-1CE1B1E42CF0}"/>
              </a:ext>
            </a:extLst>
          </p:cNvPr>
          <p:cNvSpPr/>
          <p:nvPr userDrawn="1"/>
        </p:nvSpPr>
        <p:spPr>
          <a:xfrm>
            <a:off x="9748684" y="6091084"/>
            <a:ext cx="2443316" cy="7668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6031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F45D6DA-0F5A-48FC-BA95-A5D3A3BCD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86724"/>
            <a:ext cx="8036178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b="1" i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Slide title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76CBA53-1ECD-427E-B2D3-662B3CAE7E57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00000" y="1089221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6399681-AC2E-40EE-BE2D-CE3BF20DF3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619172" y="1075313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100E7E4-CC29-436A-BB1B-106B191CA8D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3233" y="1202218"/>
            <a:ext cx="10781407" cy="65810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None/>
              <a:defRPr sz="1600">
                <a:solidFill>
                  <a:schemeClr val="accent5"/>
                </a:solidFill>
              </a:defRPr>
            </a:lvl1pPr>
            <a:lvl2pPr marL="6858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200">
                <a:solidFill>
                  <a:schemeClr val="accent5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200">
                <a:solidFill>
                  <a:schemeClr val="accent5"/>
                </a:solidFill>
              </a:defRPr>
            </a:lvl3pPr>
            <a:lvl4pPr marL="1600200" indent="-228600">
              <a:lnSpc>
                <a:spcPct val="100000"/>
              </a:lnSpc>
              <a:buClr>
                <a:schemeClr val="accent4"/>
              </a:buClr>
              <a:buFont typeface="Lato Light" panose="020F0302020204030203" pitchFamily="34" charset="0"/>
              <a:buChar char="–"/>
              <a:defRPr sz="1050">
                <a:solidFill>
                  <a:schemeClr val="accent5"/>
                </a:solidFill>
              </a:defRPr>
            </a:lvl4pPr>
            <a:lvl5pPr marL="2057400" indent="-228600">
              <a:lnSpc>
                <a:spcPct val="100000"/>
              </a:lnSpc>
              <a:buClr>
                <a:schemeClr val="bg2"/>
              </a:buClr>
              <a:buFont typeface="Lato Light" panose="020F0302020204030203" pitchFamily="34" charset="0"/>
              <a:buChar char="–"/>
              <a:defRPr sz="105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GB" noProof="0"/>
              <a:t>Lorem ipsum dolor sit amet, consectetur adipiscing elit. Sed mi purus, condimentum non mi in, scelerisque hendrerit urna. Curabitur eu rutrum tellus. 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492799D1-37E4-4F80-8BF8-9D6191871CEA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10292" y="170064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06451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2E13F22-F438-447B-9E31-113A05DDB1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00" y="2276475"/>
            <a:ext cx="10922400" cy="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CF761323-5A40-40BD-B2BA-F1C62F7A81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4876" y="2454407"/>
            <a:ext cx="6402323" cy="974594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tx2"/>
                </a:solidFill>
                <a:latin typeface="Lato Black" panose="020F0A0202020403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Title of cover page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C9394B0-F116-4663-AED6-8458CF2E1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4876" y="1672328"/>
            <a:ext cx="6235848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400" i="1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Business division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93F88CC-E590-4A85-8CE7-7F8560D90F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4877" y="3507403"/>
            <a:ext cx="6235848" cy="47299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Subheading of cover page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07A44A41-CE13-414F-A254-F2690F30E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4877" y="5914309"/>
            <a:ext cx="2147444" cy="338551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/>
              <a:t>Date of present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B74A17-7A45-404C-BCD5-DB3D201A1C4D}"/>
              </a:ext>
            </a:extLst>
          </p:cNvPr>
          <p:cNvSpPr/>
          <p:nvPr userDrawn="1"/>
        </p:nvSpPr>
        <p:spPr>
          <a:xfrm>
            <a:off x="9179169" y="0"/>
            <a:ext cx="3012831" cy="14067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9959B6-2A50-4BF3-BBCB-3A5EBC420228}"/>
              </a:ext>
            </a:extLst>
          </p:cNvPr>
          <p:cNvSpPr/>
          <p:nvPr userDrawn="1"/>
        </p:nvSpPr>
        <p:spPr>
          <a:xfrm>
            <a:off x="0" y="6332660"/>
            <a:ext cx="1126901" cy="52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F51623-A4D7-48AA-A0FF-480B77DB34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88" y="1090883"/>
            <a:ext cx="2491665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3907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756859-5F38-4F5B-9E6A-A478F887AE4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0000" y="1065213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DF7D9034-73B5-43C0-ACD3-2A2C27DBAF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47969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0">
                <a:solidFill>
                  <a:schemeClr val="accent5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Main</a:t>
            </a:r>
            <a:r>
              <a:rPr lang="es-ES" dirty="0"/>
              <a:t> </a:t>
            </a:r>
            <a:r>
              <a:rPr lang="es-ES" dirty="0" err="1"/>
              <a:t>messages</a:t>
            </a:r>
            <a:endParaRPr lang="es-E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B286626-73A5-46F0-B505-F883F95CD9CD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9172" y="1051305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7D3DAE4-EA04-4964-851C-82A77396E44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0293" y="1173738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UBHEADING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98BD176-A194-42E1-91EE-8ADD4954C63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10292" y="125239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09383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incipales mensaj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5C1C5DD-7146-48B3-B2D4-E8E106D048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00000" y="1065213"/>
            <a:ext cx="11592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F45D6DA-0F5A-48FC-BA95-A5D3A3BCD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293" y="447969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 i="0">
                <a:solidFill>
                  <a:schemeClr val="accent5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 err="1"/>
              <a:t>Main</a:t>
            </a:r>
            <a:r>
              <a:rPr lang="es-ES" dirty="0"/>
              <a:t> </a:t>
            </a:r>
            <a:r>
              <a:rPr lang="es-ES" dirty="0" err="1"/>
              <a:t>messages</a:t>
            </a:r>
            <a:endParaRPr lang="es-E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AA3C6B4-F6FE-4711-8486-C7F9552AFF48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9172" y="1051305"/>
            <a:ext cx="756000" cy="0"/>
          </a:xfrm>
          <a:prstGeom prst="rect">
            <a:avLst/>
          </a:prstGeom>
          <a:solidFill>
            <a:schemeClr val="tx2"/>
          </a:solidFill>
          <a:ln w="34925" cap="flat">
            <a:solidFill>
              <a:schemeClr val="tx2"/>
            </a:solidFill>
            <a:miter lim="800000"/>
          </a:ln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773A029-2A97-4838-BCE0-4FEEDBB125E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0293" y="1173738"/>
            <a:ext cx="11057456" cy="457056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>
                <a:solidFill>
                  <a:schemeClr val="accent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UBHEADING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55AC2E5-1CF6-456C-A925-C9B959E4BEE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10292" y="125239"/>
            <a:ext cx="11057453" cy="322729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i="0" spc="150" baseline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89936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heme" Target="../theme/them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42A9C1-9C82-4E15-A0D8-9FFE0BB4A5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42145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1" imgH="423" progId="TCLayout.ActiveDocument.1">
                  <p:embed/>
                </p:oleObj>
              </mc:Choice>
              <mc:Fallback>
                <p:oleObj name="think-cell Slide" r:id="rId7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42A9C1-9C82-4E15-A0D8-9FFE0BB4A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88FB95C-F527-4AB1-AE70-CF49848BE5E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6" y="180639"/>
            <a:ext cx="1609344" cy="57288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6D630F-2B01-4278-88AF-5EDD1D158DF4}"/>
              </a:ext>
            </a:extLst>
          </p:cNvPr>
          <p:cNvCxnSpPr>
            <a:cxnSpLocks/>
          </p:cNvCxnSpPr>
          <p:nvPr userDrawn="1"/>
        </p:nvCxnSpPr>
        <p:spPr>
          <a:xfrm>
            <a:off x="0" y="6430863"/>
            <a:ext cx="8286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3 Título">
            <a:extLst>
              <a:ext uri="{FF2B5EF4-FFF2-40B4-BE49-F238E27FC236}">
                <a16:creationId xmlns:a16="http://schemas.microsoft.com/office/drawing/2014/main" id="{49E6C371-AC4C-4805-A832-438231ABC418}"/>
              </a:ext>
            </a:extLst>
          </p:cNvPr>
          <p:cNvSpPr txBox="1">
            <a:spLocks/>
          </p:cNvSpPr>
          <p:nvPr userDrawn="1"/>
        </p:nvSpPr>
        <p:spPr>
          <a:xfrm>
            <a:off x="441789" y="6516703"/>
            <a:ext cx="367569" cy="17177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t" anchorCtr="0">
            <a:noAutofit/>
          </a:bodyPr>
          <a:lstStyle>
            <a:lvl1pPr marL="0" marR="0" indent="0" algn="l" defTabSz="421946" rtl="0" eaLnBrk="0" fontAlgn="base" latinLnBrk="0" hangingPunct="0">
              <a:lnSpc>
                <a:spcPts val="184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62" b="1" i="0" u="none" strike="noStrike" cap="none" spc="0" baseline="0">
                <a:ln>
                  <a:noFill/>
                </a:ln>
                <a:solidFill>
                  <a:srgbClr val="5C881A"/>
                </a:solidFill>
                <a:uFillTx/>
                <a:latin typeface="Arial" pitchFamily="34" charset="0"/>
                <a:ea typeface="+mn-ea"/>
                <a:cs typeface="Arial" pitchFamily="34" charset="0"/>
                <a:sym typeface="Helvetica Light"/>
              </a:defRPr>
            </a:lvl1pPr>
            <a:lvl2pPr marL="0" marR="0" indent="228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marR="0" lvl="0" indent="0" algn="r" defTabSz="42194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82C478-65CB-40CC-B806-7B075BDC2A69}" type="slidenum">
              <a:rPr kumimoji="0" lang="pt-BR" sz="1000" b="0" i="0" u="none" strike="noStrike" kern="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Lato Light" panose="020F0302020204030203" pitchFamily="34" charset="0"/>
                <a:ea typeface="+mn-ea"/>
                <a:cs typeface="Arial" pitchFamily="34" charset="0"/>
                <a:sym typeface="Helvetica Light"/>
              </a:rPr>
              <a:t>‹#›</a:t>
            </a:fld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Lato Light" panose="020F0302020204030203" pitchFamily="34" charset="0"/>
              <a:ea typeface="+mn-ea"/>
              <a:cs typeface="Arial" pitchFamily="34" charset="0"/>
              <a:sym typeface="Helvetica Ligh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AEE668-8017-4A11-9FA1-CD1F855B8819}"/>
              </a:ext>
            </a:extLst>
          </p:cNvPr>
          <p:cNvCxnSpPr>
            <a:cxnSpLocks/>
          </p:cNvCxnSpPr>
          <p:nvPr userDrawn="1"/>
        </p:nvCxnSpPr>
        <p:spPr>
          <a:xfrm>
            <a:off x="607219" y="6445220"/>
            <a:ext cx="221456" cy="0"/>
          </a:xfrm>
          <a:prstGeom prst="line">
            <a:avLst/>
          </a:prstGeom>
          <a:ln w="349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1231056682,&quot;Placement&quot;:&quot;Footer&quot;,&quot;Top&quot;:516.65155,&quot;Left&quot;:437.819916,&quot;SlideWidth&quot;:960,&quot;SlideHeight&quot;:540}">
            <a:extLst>
              <a:ext uri="{FF2B5EF4-FFF2-40B4-BE49-F238E27FC236}">
                <a16:creationId xmlns:a16="http://schemas.microsoft.com/office/drawing/2014/main" id="{5C23223F-B2BD-4FF5-85BA-B4D03A65C16A}"/>
              </a:ext>
            </a:extLst>
          </p:cNvPr>
          <p:cNvSpPr txBox="1"/>
          <p:nvPr userDrawn="1"/>
        </p:nvSpPr>
        <p:spPr>
          <a:xfrm>
            <a:off x="5560313" y="6561475"/>
            <a:ext cx="1071374" cy="29652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sz="1200" b="0" kern="0">
                <a:solidFill>
                  <a:srgbClr val="008000"/>
                </a:solidFill>
                <a:latin typeface="Calibri" panose="020F0502020204030204" pitchFamily="34" charset="0"/>
              </a:rPr>
              <a:t>Internal Use</a:t>
            </a:r>
          </a:p>
        </p:txBody>
      </p:sp>
    </p:spTree>
    <p:extLst>
      <p:ext uri="{BB962C8B-B14F-4D97-AF65-F5344CB8AC3E}">
        <p14:creationId xmlns:p14="http://schemas.microsoft.com/office/powerpoint/2010/main" val="95040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1" r:id="rId2"/>
    <p:sldLayoutId id="2147483677" r:id="rId3"/>
    <p:sldLayoutId id="214748367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 Light" panose="020F03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2586F06-7EEE-4461-AA8F-3D599F1DE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850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2586F06-7EEE-4461-AA8F-3D599F1DE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6D630F-2B01-4278-88AF-5EDD1D158DF4}"/>
              </a:ext>
            </a:extLst>
          </p:cNvPr>
          <p:cNvCxnSpPr>
            <a:cxnSpLocks/>
          </p:cNvCxnSpPr>
          <p:nvPr userDrawn="1"/>
        </p:nvCxnSpPr>
        <p:spPr>
          <a:xfrm>
            <a:off x="0" y="6430863"/>
            <a:ext cx="8286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3 Título">
            <a:extLst>
              <a:ext uri="{FF2B5EF4-FFF2-40B4-BE49-F238E27FC236}">
                <a16:creationId xmlns:a16="http://schemas.microsoft.com/office/drawing/2014/main" id="{49E6C371-AC4C-4805-A832-438231ABC418}"/>
              </a:ext>
            </a:extLst>
          </p:cNvPr>
          <p:cNvSpPr txBox="1">
            <a:spLocks/>
          </p:cNvSpPr>
          <p:nvPr userDrawn="1"/>
        </p:nvSpPr>
        <p:spPr>
          <a:xfrm>
            <a:off x="441789" y="6516703"/>
            <a:ext cx="367569" cy="17177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 anchorCtr="0">
            <a:noAutofit/>
          </a:bodyPr>
          <a:lstStyle>
            <a:lvl1pPr marL="0" marR="0" indent="0" algn="l" defTabSz="421946" rtl="0" eaLnBrk="0" fontAlgn="base" latinLnBrk="0" hangingPunct="0">
              <a:lnSpc>
                <a:spcPts val="184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62" b="1" i="0" u="none" strike="noStrike" cap="none" spc="0" baseline="0">
                <a:ln>
                  <a:noFill/>
                </a:ln>
                <a:solidFill>
                  <a:srgbClr val="5C881A"/>
                </a:solidFill>
                <a:uFillTx/>
                <a:latin typeface="Arial" pitchFamily="34" charset="0"/>
                <a:ea typeface="+mn-ea"/>
                <a:cs typeface="Arial" pitchFamily="34" charset="0"/>
                <a:sym typeface="Helvetica Light"/>
              </a:defRPr>
            </a:lvl1pPr>
            <a:lvl2pPr marL="0" marR="0" indent="228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marR="0" lvl="0" indent="0" algn="r" defTabSz="42194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82C478-65CB-40CC-B806-7B075BDC2A69}" type="slidenum">
              <a:rPr kumimoji="0" lang="pt-BR" sz="1000" b="0" i="0" u="none" strike="noStrike" kern="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Lato Light" panose="020F0302020204030203" pitchFamily="34" charset="0"/>
                <a:ea typeface="+mn-ea"/>
                <a:cs typeface="Arial" pitchFamily="34" charset="0"/>
                <a:sym typeface="Helvetica Light"/>
              </a:rPr>
              <a:t>‹#›</a:t>
            </a:fld>
            <a:endParaRPr kumimoji="0" lang="pt-BR" sz="1000" b="0" i="0" u="none" strike="noStrike" kern="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Lato Light" panose="020F0302020204030203" pitchFamily="34" charset="0"/>
              <a:ea typeface="+mn-ea"/>
              <a:cs typeface="Arial" pitchFamily="34" charset="0"/>
              <a:sym typeface="Helvetica Ligh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AEE668-8017-4A11-9FA1-CD1F855B8819}"/>
              </a:ext>
            </a:extLst>
          </p:cNvPr>
          <p:cNvCxnSpPr>
            <a:cxnSpLocks/>
          </p:cNvCxnSpPr>
          <p:nvPr userDrawn="1"/>
        </p:nvCxnSpPr>
        <p:spPr>
          <a:xfrm>
            <a:off x="607219" y="6445220"/>
            <a:ext cx="221456" cy="0"/>
          </a:xfrm>
          <a:prstGeom prst="line">
            <a:avLst/>
          </a:prstGeom>
          <a:ln w="349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1231056682,&quot;Placement&quot;:&quot;Footer&quot;,&quot;Top&quot;:516.65155,&quot;Left&quot;:437.819916,&quot;SlideWidth&quot;:960,&quot;SlideHeight&quot;:540}">
            <a:extLst>
              <a:ext uri="{FF2B5EF4-FFF2-40B4-BE49-F238E27FC236}">
                <a16:creationId xmlns:a16="http://schemas.microsoft.com/office/drawing/2014/main" id="{B36485B6-0242-4164-8280-62CC6D693EEC}"/>
              </a:ext>
            </a:extLst>
          </p:cNvPr>
          <p:cNvSpPr txBox="1"/>
          <p:nvPr userDrawn="1"/>
        </p:nvSpPr>
        <p:spPr>
          <a:xfrm>
            <a:off x="5560313" y="6561475"/>
            <a:ext cx="1071374" cy="29652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kern="0">
                <a:solidFill>
                  <a:srgbClr val="008000"/>
                </a:solidFill>
                <a:latin typeface="Calibri" panose="020F0502020204030204" pitchFamily="34" charset="0"/>
              </a:rPr>
              <a:t>Internal Us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369D1A9-8708-438A-8F8F-8DE8FF76A9A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02177" y="282996"/>
            <a:ext cx="1452976" cy="358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5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 Light" panose="020F03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3126F6-1A5A-4CB1-A05E-E912DA918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9431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3126F6-1A5A-4CB1-A05E-E912DA918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88FB95C-F527-4AB1-AE70-CF49848BE5E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576" y="180639"/>
            <a:ext cx="1609344" cy="57288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16D630F-2B01-4278-88AF-5EDD1D158DF4}"/>
              </a:ext>
            </a:extLst>
          </p:cNvPr>
          <p:cNvCxnSpPr>
            <a:cxnSpLocks/>
          </p:cNvCxnSpPr>
          <p:nvPr userDrawn="1"/>
        </p:nvCxnSpPr>
        <p:spPr>
          <a:xfrm>
            <a:off x="0" y="6430863"/>
            <a:ext cx="8286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3 Título">
            <a:extLst>
              <a:ext uri="{FF2B5EF4-FFF2-40B4-BE49-F238E27FC236}">
                <a16:creationId xmlns:a16="http://schemas.microsoft.com/office/drawing/2014/main" id="{49E6C371-AC4C-4805-A832-438231ABC418}"/>
              </a:ext>
            </a:extLst>
          </p:cNvPr>
          <p:cNvSpPr txBox="1">
            <a:spLocks/>
          </p:cNvSpPr>
          <p:nvPr userDrawn="1"/>
        </p:nvSpPr>
        <p:spPr>
          <a:xfrm>
            <a:off x="441789" y="6516703"/>
            <a:ext cx="367569" cy="17177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t" anchorCtr="0">
            <a:noAutofit/>
          </a:bodyPr>
          <a:lstStyle>
            <a:lvl1pPr marL="0" marR="0" indent="0" algn="l" defTabSz="421946" rtl="0" eaLnBrk="0" fontAlgn="base" latinLnBrk="0" hangingPunct="0">
              <a:lnSpc>
                <a:spcPts val="184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62" b="1" i="0" u="none" strike="noStrike" cap="none" spc="0" baseline="0">
                <a:ln>
                  <a:noFill/>
                </a:ln>
                <a:solidFill>
                  <a:srgbClr val="5C881A"/>
                </a:solidFill>
                <a:uFillTx/>
                <a:latin typeface="Arial" pitchFamily="34" charset="0"/>
                <a:ea typeface="+mn-ea"/>
                <a:cs typeface="Arial" pitchFamily="34" charset="0"/>
                <a:sym typeface="Helvetica Light"/>
              </a:defRPr>
            </a:lvl1pPr>
            <a:lvl2pPr marL="0" marR="0" indent="228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11430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13716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16002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1828800" algn="ctr" defTabSz="410765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marR="0" lvl="0" indent="0" algn="r" defTabSz="421946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82C478-65CB-40CC-B806-7B075BDC2A69}" type="slidenum">
              <a:rPr kumimoji="0" lang="pt-BR" sz="1000" b="0" i="0" u="none" strike="noStrike" kern="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Lato Light" panose="020F0302020204030203" pitchFamily="34" charset="0"/>
                <a:ea typeface="+mn-ea"/>
                <a:cs typeface="Arial" pitchFamily="34" charset="0"/>
                <a:sym typeface="Helvetica Light"/>
              </a:rPr>
              <a:t>‹#›</a:t>
            </a:fld>
            <a:endParaRPr kumimoji="0" lang="pt-BR" sz="10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Lato Light" panose="020F0302020204030203" pitchFamily="34" charset="0"/>
              <a:ea typeface="+mn-ea"/>
              <a:cs typeface="Arial" pitchFamily="34" charset="0"/>
              <a:sym typeface="Helvetica Ligh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AEE668-8017-4A11-9FA1-CD1F855B8819}"/>
              </a:ext>
            </a:extLst>
          </p:cNvPr>
          <p:cNvCxnSpPr>
            <a:cxnSpLocks/>
          </p:cNvCxnSpPr>
          <p:nvPr userDrawn="1"/>
        </p:nvCxnSpPr>
        <p:spPr>
          <a:xfrm>
            <a:off x="607219" y="6445220"/>
            <a:ext cx="221456" cy="0"/>
          </a:xfrm>
          <a:prstGeom prst="line">
            <a:avLst/>
          </a:prstGeom>
          <a:ln w="349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1231056682,&quot;Placement&quot;:&quot;Footer&quot;,&quot;Top&quot;:516.65155,&quot;Left&quot;:437.819916,&quot;SlideWidth&quot;:960,&quot;SlideHeight&quot;:540}">
            <a:extLst>
              <a:ext uri="{FF2B5EF4-FFF2-40B4-BE49-F238E27FC236}">
                <a16:creationId xmlns:a16="http://schemas.microsoft.com/office/drawing/2014/main" id="{FC878761-A1C4-49F7-BF4C-75548A98AF9F}"/>
              </a:ext>
            </a:extLst>
          </p:cNvPr>
          <p:cNvSpPr txBox="1"/>
          <p:nvPr userDrawn="1"/>
        </p:nvSpPr>
        <p:spPr>
          <a:xfrm>
            <a:off x="5560313" y="6561475"/>
            <a:ext cx="1071374" cy="29652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kern="0">
                <a:solidFill>
                  <a:srgbClr val="008000"/>
                </a:solidFill>
                <a:latin typeface="Calibri" panose="020F0502020204030204" pitchFamily="34" charset="0"/>
              </a:rPr>
              <a:t>Internal Use</a:t>
            </a:r>
          </a:p>
        </p:txBody>
      </p:sp>
    </p:spTree>
    <p:extLst>
      <p:ext uri="{BB962C8B-B14F-4D97-AF65-F5344CB8AC3E}">
        <p14:creationId xmlns:p14="http://schemas.microsoft.com/office/powerpoint/2010/main" val="188907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 Light" panose="020F03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 Light" panose="020F03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image" Target="../media/image13.jpg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jp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tmp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B8D30E-25AE-40EB-95DB-F76BBE33AE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6282" y="5914309"/>
            <a:ext cx="2124000" cy="338551"/>
          </a:xfrm>
        </p:spPr>
        <p:txBody>
          <a:bodyPr/>
          <a:lstStyle/>
          <a:p>
            <a:pPr lvl="0"/>
            <a:r>
              <a:rPr lang="es-ES_tradnl" noProof="0" dirty="0">
                <a:sym typeface="Helvetica Light"/>
              </a:rPr>
              <a:t>August 4, 2022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A2AF88E-280B-4857-AE61-C543BF09E6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D3176A08-E7B4-439E-B328-DA25FC5423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1" y="-538"/>
            <a:ext cx="12203501" cy="2502734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8FEAC9-FBBB-4BD6-A663-F8B3E1B38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6100" y="2919413"/>
            <a:ext cx="10522494" cy="1471612"/>
          </a:xfrm>
        </p:spPr>
        <p:txBody>
          <a:bodyPr/>
          <a:lstStyle/>
          <a:p>
            <a:r>
              <a:rPr lang="en-US" kern="0" dirty="0">
                <a:solidFill>
                  <a:schemeClr val="tx2"/>
                </a:solidFill>
                <a:latin typeface="Lato Black" panose="020B0604020202020204" charset="0"/>
              </a:rPr>
              <a:t>NC TOW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79821A-5B29-4C3A-932B-F98EE718B9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5857" y="5788308"/>
            <a:ext cx="1949861" cy="67916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F1F8D5-BDE6-4D08-A3B9-51E51DAFD819}"/>
              </a:ext>
            </a:extLst>
          </p:cNvPr>
          <p:cNvSpPr txBox="1"/>
          <p:nvPr/>
        </p:nvSpPr>
        <p:spPr>
          <a:xfrm>
            <a:off x="689317" y="4391025"/>
            <a:ext cx="7568418" cy="84215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45709" rIns="91419" bIns="45709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32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ric Thumma</a:t>
            </a:r>
          </a:p>
          <a:p>
            <a:pPr algn="l">
              <a:lnSpc>
                <a:spcPct val="90000"/>
              </a:lnSpc>
            </a:pPr>
            <a:r>
              <a:rPr lang="en-GB" sz="32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ce President, New Business -Offshore</a:t>
            </a:r>
            <a:endParaRPr lang="en-GB" sz="3200" b="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383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50E8877D-26DA-447A-A4DD-DEDE26090C1D}"/>
              </a:ext>
            </a:extLst>
          </p:cNvPr>
          <p:cNvSpPr/>
          <p:nvPr/>
        </p:nvSpPr>
        <p:spPr>
          <a:xfrm>
            <a:off x="601783" y="743642"/>
            <a:ext cx="10988431" cy="5565678"/>
          </a:xfrm>
          <a:prstGeom prst="rect">
            <a:avLst/>
          </a:prstGeom>
          <a:blipFill>
            <a:blip r:embed="rId2" cstate="print"/>
            <a:stretch>
              <a:fillRect t="-5226" b="-1"/>
            </a:stretch>
          </a:blipFill>
          <a:effectLst>
            <a:softEdge rad="635000"/>
          </a:effectLst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3A3BB8-372A-4247-AD5B-7346BD31E1C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83C52A-0317-4928-B2F7-28125A8DF1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Part of Iberdrola Group’s Global Portfolio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EFCD0-AF99-4946-87E5-186F5AF809BA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78207E-4FED-4DA5-8DCF-6A36CE43AD02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en-US"/>
              <a:t>AVANGRID RENEWABLES OFFSHORE WIN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65E70B-A944-4FE6-855C-947B0F15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0465" y="2634554"/>
            <a:ext cx="1005369" cy="449623"/>
          </a:xfrm>
          <a:prstGeom prst="rect">
            <a:avLst/>
          </a:prstGeom>
        </p:spPr>
      </p:pic>
      <p:cxnSp>
        <p:nvCxnSpPr>
          <p:cNvPr id="9" name="Connector: Elbow 103">
            <a:extLst>
              <a:ext uri="{FF2B5EF4-FFF2-40B4-BE49-F238E27FC236}">
                <a16:creationId xmlns:a16="http://schemas.microsoft.com/office/drawing/2014/main" id="{13E4B3D8-6526-4F81-9844-ECD0A229D175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5276161" y="2707512"/>
            <a:ext cx="456863" cy="76593"/>
          </a:xfrm>
          <a:prstGeom prst="straightConnector1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22">
            <a:extLst>
              <a:ext uri="{FF2B5EF4-FFF2-40B4-BE49-F238E27FC236}">
                <a16:creationId xmlns:a16="http://schemas.microsoft.com/office/drawing/2014/main" id="{73647A9B-1F21-4837-8675-8990192099FB}"/>
              </a:ext>
            </a:extLst>
          </p:cNvPr>
          <p:cNvCxnSpPr>
            <a:cxnSpLocks/>
            <a:stCxn id="40" idx="3"/>
            <a:endCxn id="13" idx="1"/>
          </p:cNvCxnSpPr>
          <p:nvPr/>
        </p:nvCxnSpPr>
        <p:spPr>
          <a:xfrm>
            <a:off x="2533012" y="3427689"/>
            <a:ext cx="883210" cy="201073"/>
          </a:xfrm>
          <a:prstGeom prst="straightConnector1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71">
            <a:extLst>
              <a:ext uri="{FF2B5EF4-FFF2-40B4-BE49-F238E27FC236}">
                <a16:creationId xmlns:a16="http://schemas.microsoft.com/office/drawing/2014/main" id="{5556D537-E84B-4CD7-BD1C-9190F044B3AD}"/>
              </a:ext>
            </a:extLst>
          </p:cNvPr>
          <p:cNvCxnSpPr>
            <a:cxnSpLocks/>
            <a:stCxn id="23" idx="1"/>
          </p:cNvCxnSpPr>
          <p:nvPr/>
        </p:nvCxnSpPr>
        <p:spPr>
          <a:xfrm flipH="1" flipV="1">
            <a:off x="5218548" y="2676295"/>
            <a:ext cx="280353" cy="274363"/>
          </a:xfrm>
          <a:prstGeom prst="straightConnector1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bject 63">
            <a:extLst>
              <a:ext uri="{FF2B5EF4-FFF2-40B4-BE49-F238E27FC236}">
                <a16:creationId xmlns:a16="http://schemas.microsoft.com/office/drawing/2014/main" id="{69328DD7-C8E7-4E9E-AB97-DC8871795808}"/>
              </a:ext>
            </a:extLst>
          </p:cNvPr>
          <p:cNvSpPr/>
          <p:nvPr/>
        </p:nvSpPr>
        <p:spPr>
          <a:xfrm>
            <a:off x="3587963" y="3354681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13" name="object 63">
            <a:extLst>
              <a:ext uri="{FF2B5EF4-FFF2-40B4-BE49-F238E27FC236}">
                <a16:creationId xmlns:a16="http://schemas.microsoft.com/office/drawing/2014/main" id="{43D54795-50D6-42EC-A6AA-F86010F84E61}"/>
              </a:ext>
            </a:extLst>
          </p:cNvPr>
          <p:cNvSpPr/>
          <p:nvPr/>
        </p:nvSpPr>
        <p:spPr>
          <a:xfrm>
            <a:off x="3416222" y="3570336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cxnSp>
        <p:nvCxnSpPr>
          <p:cNvPr id="14" name="Connector: Elbow 20">
            <a:extLst>
              <a:ext uri="{FF2B5EF4-FFF2-40B4-BE49-F238E27FC236}">
                <a16:creationId xmlns:a16="http://schemas.microsoft.com/office/drawing/2014/main" id="{F9976D68-8789-4A2E-8EDD-907DA0F7C3EA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2560770" y="2748152"/>
            <a:ext cx="1027193" cy="664955"/>
          </a:xfrm>
          <a:prstGeom prst="straightConnector1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bject 63">
            <a:extLst>
              <a:ext uri="{FF2B5EF4-FFF2-40B4-BE49-F238E27FC236}">
                <a16:creationId xmlns:a16="http://schemas.microsoft.com/office/drawing/2014/main" id="{5B0268AD-CF15-414D-8934-80EEA1317937}"/>
              </a:ext>
            </a:extLst>
          </p:cNvPr>
          <p:cNvSpPr/>
          <p:nvPr/>
        </p:nvSpPr>
        <p:spPr>
          <a:xfrm>
            <a:off x="4583423" y="5392597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cxnSp>
        <p:nvCxnSpPr>
          <p:cNvPr id="16" name="Connector: Elbow 76">
            <a:extLst>
              <a:ext uri="{FF2B5EF4-FFF2-40B4-BE49-F238E27FC236}">
                <a16:creationId xmlns:a16="http://schemas.microsoft.com/office/drawing/2014/main" id="{4D1865AB-8F55-4033-9E3E-0DBF4F097428}"/>
              </a:ext>
            </a:extLst>
          </p:cNvPr>
          <p:cNvCxnSpPr>
            <a:cxnSpLocks/>
            <a:stCxn id="47" idx="3"/>
            <a:endCxn id="15" idx="1"/>
          </p:cNvCxnSpPr>
          <p:nvPr/>
        </p:nvCxnSpPr>
        <p:spPr>
          <a:xfrm>
            <a:off x="3556750" y="4967666"/>
            <a:ext cx="1026673" cy="483357"/>
          </a:xfrm>
          <a:prstGeom prst="straightConnector1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object 63">
            <a:extLst>
              <a:ext uri="{FF2B5EF4-FFF2-40B4-BE49-F238E27FC236}">
                <a16:creationId xmlns:a16="http://schemas.microsoft.com/office/drawing/2014/main" id="{9D3F89E8-8B05-4BEB-9D6C-2C5E385A9A55}"/>
              </a:ext>
            </a:extLst>
          </p:cNvPr>
          <p:cNvSpPr/>
          <p:nvPr/>
        </p:nvSpPr>
        <p:spPr>
          <a:xfrm>
            <a:off x="5667309" y="2784104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18" name="object 63">
            <a:extLst>
              <a:ext uri="{FF2B5EF4-FFF2-40B4-BE49-F238E27FC236}">
                <a16:creationId xmlns:a16="http://schemas.microsoft.com/office/drawing/2014/main" id="{8B483A3C-2299-4285-B5B0-018B079F7844}"/>
              </a:ext>
            </a:extLst>
          </p:cNvPr>
          <p:cNvSpPr/>
          <p:nvPr/>
        </p:nvSpPr>
        <p:spPr>
          <a:xfrm>
            <a:off x="6256543" y="2468893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97D89B9-B01D-4606-B813-158B74EE9E48}"/>
              </a:ext>
            </a:extLst>
          </p:cNvPr>
          <p:cNvSpPr/>
          <p:nvPr/>
        </p:nvSpPr>
        <p:spPr bwMode="auto">
          <a:xfrm>
            <a:off x="9822584" y="4698465"/>
            <a:ext cx="1349352" cy="1230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733"/>
          </a:p>
        </p:txBody>
      </p:sp>
      <p:sp>
        <p:nvSpPr>
          <p:cNvPr id="20" name="object 63">
            <a:extLst>
              <a:ext uri="{FF2B5EF4-FFF2-40B4-BE49-F238E27FC236}">
                <a16:creationId xmlns:a16="http://schemas.microsoft.com/office/drawing/2014/main" id="{7041F12A-A254-4803-B24C-618A9D6A76EC}"/>
              </a:ext>
            </a:extLst>
          </p:cNvPr>
          <p:cNvSpPr/>
          <p:nvPr/>
        </p:nvSpPr>
        <p:spPr>
          <a:xfrm>
            <a:off x="9966039" y="3709525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21" name="object 63">
            <a:extLst>
              <a:ext uri="{FF2B5EF4-FFF2-40B4-BE49-F238E27FC236}">
                <a16:creationId xmlns:a16="http://schemas.microsoft.com/office/drawing/2014/main" id="{FB96C281-8436-4AFD-A80B-98979598A33E}"/>
              </a:ext>
            </a:extLst>
          </p:cNvPr>
          <p:cNvSpPr/>
          <p:nvPr/>
        </p:nvSpPr>
        <p:spPr>
          <a:xfrm>
            <a:off x="6181511" y="2710140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22" name="object 19">
            <a:extLst>
              <a:ext uri="{FF2B5EF4-FFF2-40B4-BE49-F238E27FC236}">
                <a16:creationId xmlns:a16="http://schemas.microsoft.com/office/drawing/2014/main" id="{168366F9-E353-4EA4-9E8D-E8EF36DE1370}"/>
              </a:ext>
            </a:extLst>
          </p:cNvPr>
          <p:cNvSpPr/>
          <p:nvPr/>
        </p:nvSpPr>
        <p:spPr>
          <a:xfrm>
            <a:off x="2179327" y="5357813"/>
            <a:ext cx="910523" cy="3789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23" name="object 63">
            <a:extLst>
              <a:ext uri="{FF2B5EF4-FFF2-40B4-BE49-F238E27FC236}">
                <a16:creationId xmlns:a16="http://schemas.microsoft.com/office/drawing/2014/main" id="{1E6B337E-8C0D-400E-8A4B-886BA3FB8F0E}"/>
              </a:ext>
            </a:extLst>
          </p:cNvPr>
          <p:cNvSpPr/>
          <p:nvPr/>
        </p:nvSpPr>
        <p:spPr>
          <a:xfrm>
            <a:off x="5498901" y="2892232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24" name="Rectangle 27" descr="barra H naranja BAJA">
            <a:extLst>
              <a:ext uri="{FF2B5EF4-FFF2-40B4-BE49-F238E27FC236}">
                <a16:creationId xmlns:a16="http://schemas.microsoft.com/office/drawing/2014/main" id="{52891293-63B8-4737-ABF9-6AFF4C840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823" y="6103884"/>
            <a:ext cx="10988432" cy="386800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36000" rIns="36000" bIns="36000" anchor="ctr"/>
          <a:lstStyle/>
          <a:p>
            <a:pPr algn="ctr" defTabSz="858796">
              <a:lnSpc>
                <a:spcPct val="85000"/>
              </a:lnSpc>
              <a:buClr>
                <a:srgbClr val="6699FF"/>
              </a:buClr>
              <a:buSzPct val="120000"/>
            </a:pPr>
            <a:r>
              <a:rPr lang="en-US" altLang="en-US" sz="1600" b="1" dirty="0">
                <a:solidFill>
                  <a:srgbClr val="5C881A"/>
                </a:solidFill>
              </a:rPr>
              <a:t>1.3 GW operational with 5.5 GW under construction or with secured long-term contracts</a:t>
            </a:r>
          </a:p>
          <a:p>
            <a:pPr algn="r" defTabSz="858796">
              <a:lnSpc>
                <a:spcPct val="85000"/>
              </a:lnSpc>
              <a:buClr>
                <a:srgbClr val="6699FF"/>
              </a:buClr>
              <a:buSzPct val="120000"/>
            </a:pPr>
            <a:r>
              <a:rPr lang="en-US" altLang="en-US" sz="1600" b="1" dirty="0">
                <a:solidFill>
                  <a:srgbClr val="5C881A"/>
                </a:solidFill>
              </a:rPr>
              <a:t>Minimum of 12GW (CMD forecast) operational by 2030. Potential of up to 18GW based on development activities.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F376F44-CF65-492D-B2B7-C53F9FA70162}"/>
              </a:ext>
            </a:extLst>
          </p:cNvPr>
          <p:cNvCxnSpPr>
            <a:cxnSpLocks/>
            <a:stCxn id="100" idx="0"/>
          </p:cNvCxnSpPr>
          <p:nvPr/>
        </p:nvCxnSpPr>
        <p:spPr>
          <a:xfrm flipV="1">
            <a:off x="6614200" y="2074721"/>
            <a:ext cx="400969" cy="240987"/>
          </a:xfrm>
          <a:prstGeom prst="line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bject 63">
            <a:extLst>
              <a:ext uri="{FF2B5EF4-FFF2-40B4-BE49-F238E27FC236}">
                <a16:creationId xmlns:a16="http://schemas.microsoft.com/office/drawing/2014/main" id="{EB354A11-6999-45F2-BD53-A4BCCED53721}"/>
              </a:ext>
            </a:extLst>
          </p:cNvPr>
          <p:cNvSpPr/>
          <p:nvPr/>
        </p:nvSpPr>
        <p:spPr>
          <a:xfrm>
            <a:off x="9834611" y="3912232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F0A2AE61-8F6A-49F3-AC3E-D0E9DD279C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6013" y="3043312"/>
            <a:ext cx="1325263" cy="4314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1D9F7DE-D50B-43DC-98D3-0C948B9541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917" y="1905767"/>
            <a:ext cx="1318808" cy="38746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B8031EE5-E9AD-4BA1-86CE-E7F0EAF53B8F}"/>
              </a:ext>
            </a:extLst>
          </p:cNvPr>
          <p:cNvGrpSpPr/>
          <p:nvPr/>
        </p:nvGrpSpPr>
        <p:grpSpPr>
          <a:xfrm>
            <a:off x="929775" y="2307416"/>
            <a:ext cx="1672093" cy="1255937"/>
            <a:chOff x="631995" y="1509850"/>
            <a:chExt cx="1254070" cy="941953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80C803D-A2A1-4C9D-81B9-377536561D9F}"/>
                </a:ext>
              </a:extLst>
            </p:cNvPr>
            <p:cNvSpPr/>
            <p:nvPr/>
          </p:nvSpPr>
          <p:spPr bwMode="auto">
            <a:xfrm>
              <a:off x="768095" y="1639121"/>
              <a:ext cx="1117970" cy="812682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C7C46ED-7B02-4CA4-98D3-3E4DF53BAE71}"/>
                </a:ext>
              </a:extLst>
            </p:cNvPr>
            <p:cNvGrpSpPr/>
            <p:nvPr/>
          </p:nvGrpSpPr>
          <p:grpSpPr>
            <a:xfrm>
              <a:off x="631995" y="1509850"/>
              <a:ext cx="1202428" cy="938853"/>
              <a:chOff x="631995" y="1509850"/>
              <a:chExt cx="1202428" cy="938853"/>
            </a:xfrm>
          </p:grpSpPr>
          <p:sp>
            <p:nvSpPr>
              <p:cNvPr id="38" name="object 11">
                <a:extLst>
                  <a:ext uri="{FF2B5EF4-FFF2-40B4-BE49-F238E27FC236}">
                    <a16:creationId xmlns:a16="http://schemas.microsoft.com/office/drawing/2014/main" id="{C4BF86F6-D93F-453D-AB3E-1323799863C9}"/>
                  </a:ext>
                </a:extLst>
              </p:cNvPr>
              <p:cNvSpPr txBox="1"/>
              <p:nvPr/>
            </p:nvSpPr>
            <p:spPr>
              <a:xfrm>
                <a:off x="813489" y="1833618"/>
                <a:ext cx="996359" cy="195566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5C881A"/>
                    </a:solidFill>
                    <a:latin typeface="Arial"/>
                    <a:cs typeface="Arial"/>
                  </a:rPr>
                  <a:t>Park City</a:t>
                </a:r>
                <a:r>
                  <a:rPr sz="733" b="1" spc="7">
                    <a:solidFill>
                      <a:srgbClr val="5C881A"/>
                    </a:solidFill>
                    <a:latin typeface="Arial"/>
                    <a:cs typeface="Arial"/>
                  </a:rPr>
                  <a:t> Wind</a:t>
                </a:r>
                <a:r>
                  <a:rPr lang="en-GB" sz="733" b="1" spc="7">
                    <a:solidFill>
                      <a:srgbClr val="5C881A"/>
                    </a:solidFill>
                    <a:latin typeface="Arial"/>
                    <a:cs typeface="Arial"/>
                  </a:rPr>
                  <a:t> - </a:t>
                </a:r>
                <a:r>
                  <a:rPr sz="733" spc="7">
                    <a:solidFill>
                      <a:srgbClr val="5C881A"/>
                    </a:solidFill>
                    <a:latin typeface="Arial"/>
                    <a:cs typeface="Arial"/>
                  </a:rPr>
                  <a:t>80</a:t>
                </a:r>
                <a:r>
                  <a:rPr lang="en-GB" sz="733" spc="7">
                    <a:solidFill>
                      <a:srgbClr val="5C881A"/>
                    </a:solidFill>
                    <a:latin typeface="Arial"/>
                    <a:cs typeface="Arial"/>
                  </a:rPr>
                  <a:t>4</a:t>
                </a:r>
                <a:r>
                  <a:rPr sz="733" spc="7">
                    <a:solidFill>
                      <a:srgbClr val="5C881A"/>
                    </a:solidFill>
                    <a:latin typeface="Arial"/>
                    <a:cs typeface="Arial"/>
                  </a:rPr>
                  <a:t>MW</a:t>
                </a:r>
                <a:r>
                  <a:rPr sz="733" spc="7">
                    <a:solidFill>
                      <a:srgbClr val="ABBD36"/>
                    </a:solidFill>
                    <a:latin typeface="Arial"/>
                    <a:cs typeface="Arial"/>
                  </a:rPr>
                  <a:t>  </a:t>
                </a:r>
                <a:r>
                  <a:rPr sz="667" spc="13">
                    <a:latin typeface="Arial"/>
                    <a:cs typeface="Arial"/>
                  </a:rPr>
                  <a:t>Consent 202</a:t>
                </a:r>
                <a:r>
                  <a:rPr lang="en-GB" sz="667" spc="13">
                    <a:latin typeface="Arial"/>
                    <a:cs typeface="Arial"/>
                  </a:rPr>
                  <a:t>3, COD 2025</a:t>
                </a:r>
                <a:endParaRPr sz="733" spc="13">
                  <a:latin typeface="Arial"/>
                  <a:cs typeface="Arial"/>
                </a:endParaRPr>
              </a:p>
            </p:txBody>
          </p:sp>
          <p:sp>
            <p:nvSpPr>
              <p:cNvPr id="39" name="object 11">
                <a:extLst>
                  <a:ext uri="{FF2B5EF4-FFF2-40B4-BE49-F238E27FC236}">
                    <a16:creationId xmlns:a16="http://schemas.microsoft.com/office/drawing/2014/main" id="{BFBDCA42-7100-4479-9DF7-4B72BF393344}"/>
                  </a:ext>
                </a:extLst>
              </p:cNvPr>
              <p:cNvSpPr txBox="1"/>
              <p:nvPr/>
            </p:nvSpPr>
            <p:spPr>
              <a:xfrm>
                <a:off x="799813" y="1992606"/>
                <a:ext cx="1034610" cy="28015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95979A"/>
                    </a:solidFill>
                    <a:latin typeface="Arial"/>
                    <a:cs typeface="Arial"/>
                  </a:rPr>
                  <a:t>Commonwealth Wind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 – 1.2G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W  </a:t>
                </a:r>
                <a:b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</a:br>
                <a:r>
                  <a:rPr sz="667" spc="13">
                    <a:latin typeface="Arial"/>
                    <a:cs typeface="Arial"/>
                  </a:rPr>
                  <a:t>Consent 202</a:t>
                </a:r>
                <a:r>
                  <a:rPr lang="en-GB" sz="667" spc="13">
                    <a:latin typeface="Arial"/>
                    <a:cs typeface="Arial"/>
                  </a:rPr>
                  <a:t>3, COD 2027</a:t>
                </a:r>
                <a:endParaRPr sz="733" spc="13">
                  <a:latin typeface="Arial"/>
                  <a:cs typeface="Arial"/>
                </a:endParaRPr>
              </a:p>
            </p:txBody>
          </p:sp>
          <p:sp>
            <p:nvSpPr>
              <p:cNvPr id="40" name="object 11">
                <a:extLst>
                  <a:ext uri="{FF2B5EF4-FFF2-40B4-BE49-F238E27FC236}">
                    <a16:creationId xmlns:a16="http://schemas.microsoft.com/office/drawing/2014/main" id="{C2A2A413-18E5-4FF4-99A2-47BB9EED9894}"/>
                  </a:ext>
                </a:extLst>
              </p:cNvPr>
              <p:cNvSpPr txBox="1"/>
              <p:nvPr/>
            </p:nvSpPr>
            <p:spPr>
              <a:xfrm>
                <a:off x="799813" y="2251406"/>
                <a:ext cx="1034610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95979A"/>
                    </a:solidFill>
                    <a:latin typeface="Arial"/>
                    <a:cs typeface="Arial"/>
                  </a:rPr>
                  <a:t>Kitty Hawk –</a:t>
                </a:r>
                <a:r>
                  <a:rPr sz="733" spc="7">
                    <a:solidFill>
                      <a:srgbClr val="2B2E30"/>
                    </a:solidFill>
                    <a:latin typeface="Arial"/>
                    <a:cs typeface="Arial"/>
                  </a:rPr>
                  <a:t>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2.4G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W  </a:t>
                </a:r>
                <a:endParaRPr lang="en-GB" sz="733" spc="7">
                  <a:solidFill>
                    <a:srgbClr val="95979A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sz="667" spc="13">
                    <a:latin typeface="Arial"/>
                    <a:cs typeface="Arial"/>
                  </a:rPr>
                  <a:t>Consent 202</a:t>
                </a:r>
                <a:r>
                  <a:rPr lang="en-GB" sz="667" spc="13">
                    <a:latin typeface="Arial"/>
                    <a:cs typeface="Arial"/>
                  </a:rPr>
                  <a:t>3 (</a:t>
                </a:r>
                <a:r>
                  <a:rPr lang="en-GB" sz="667" spc="13" err="1">
                    <a:latin typeface="Arial"/>
                    <a:cs typeface="Arial"/>
                  </a:rPr>
                  <a:t>ph</a:t>
                </a:r>
                <a:r>
                  <a:rPr lang="en-GB" sz="667" spc="13">
                    <a:latin typeface="Arial"/>
                    <a:cs typeface="Arial"/>
                  </a:rPr>
                  <a:t> I)</a:t>
                </a:r>
                <a:r>
                  <a:rPr sz="667" spc="13">
                    <a:latin typeface="Arial"/>
                    <a:cs typeface="Arial"/>
                  </a:rPr>
                  <a:t> - COD </a:t>
                </a:r>
                <a:r>
                  <a:rPr lang="en-GB" sz="667" spc="13">
                    <a:latin typeface="Arial"/>
                    <a:cs typeface="Arial"/>
                  </a:rPr>
                  <a:t>&gt;</a:t>
                </a:r>
                <a:r>
                  <a:rPr sz="667" spc="13">
                    <a:latin typeface="Arial"/>
                    <a:cs typeface="Arial"/>
                  </a:rPr>
                  <a:t>202</a:t>
                </a:r>
                <a:r>
                  <a:rPr lang="en-GB" sz="667" spc="13">
                    <a:latin typeface="Arial"/>
                    <a:cs typeface="Arial"/>
                  </a:rPr>
                  <a:t>7</a:t>
                </a:r>
                <a:endParaRPr sz="667" spc="13">
                  <a:latin typeface="Arial"/>
                  <a:cs typeface="Arial"/>
                </a:endParaRPr>
              </a:p>
            </p:txBody>
          </p:sp>
          <p:sp>
            <p:nvSpPr>
              <p:cNvPr id="41" name="object 11">
                <a:extLst>
                  <a:ext uri="{FF2B5EF4-FFF2-40B4-BE49-F238E27FC236}">
                    <a16:creationId xmlns:a16="http://schemas.microsoft.com/office/drawing/2014/main" id="{1CA7C4EB-2E86-4E1F-8266-17351D4457F7}"/>
                  </a:ext>
                </a:extLst>
              </p:cNvPr>
              <p:cNvSpPr txBox="1"/>
              <p:nvPr/>
            </p:nvSpPr>
            <p:spPr>
              <a:xfrm>
                <a:off x="813489" y="1639121"/>
                <a:ext cx="996359" cy="195566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sz="733" b="1" spc="7">
                    <a:solidFill>
                      <a:srgbClr val="FF5A00"/>
                    </a:solidFill>
                    <a:latin typeface="Arial"/>
                    <a:cs typeface="Arial"/>
                  </a:rPr>
                  <a:t>Vineyard Wind</a:t>
                </a:r>
                <a:r>
                  <a:rPr sz="733" b="1" spc="-7">
                    <a:solidFill>
                      <a:srgbClr val="FF5A00"/>
                    </a:solidFill>
                    <a:latin typeface="Arial"/>
                    <a:cs typeface="Arial"/>
                  </a:rPr>
                  <a:t> </a:t>
                </a:r>
                <a:r>
                  <a:rPr sz="733" b="1" spc="13">
                    <a:solidFill>
                      <a:srgbClr val="FF5A00"/>
                    </a:solidFill>
                    <a:latin typeface="Arial"/>
                    <a:cs typeface="Arial"/>
                  </a:rPr>
                  <a:t>1</a:t>
                </a:r>
                <a:r>
                  <a:rPr lang="en-GB" sz="733" b="1" spc="13">
                    <a:solidFill>
                      <a:srgbClr val="FF5A00"/>
                    </a:solidFill>
                    <a:latin typeface="Arial"/>
                    <a:cs typeface="Arial"/>
                  </a:rPr>
                  <a:t> - </a:t>
                </a:r>
                <a:r>
                  <a:rPr sz="733" spc="-33">
                    <a:solidFill>
                      <a:srgbClr val="FF5A00"/>
                    </a:solidFill>
                    <a:latin typeface="Arial"/>
                    <a:cs typeface="Arial"/>
                  </a:rPr>
                  <a:t>800MW</a:t>
                </a:r>
                <a:br>
                  <a:rPr lang="en-GB" sz="733" spc="7">
                    <a:solidFill>
                      <a:srgbClr val="2B2E30"/>
                    </a:solidFill>
                    <a:latin typeface="Arial"/>
                    <a:cs typeface="Arial"/>
                  </a:rPr>
                </a:br>
                <a:r>
                  <a:rPr sz="667" spc="13">
                    <a:latin typeface="Arial"/>
                    <a:cs typeface="Arial"/>
                  </a:rPr>
                  <a:t>Consent 202</a:t>
                </a:r>
                <a:r>
                  <a:rPr lang="en-GB" sz="667" spc="13">
                    <a:latin typeface="Arial"/>
                    <a:cs typeface="Arial"/>
                  </a:rPr>
                  <a:t>1, COD</a:t>
                </a:r>
                <a:r>
                  <a:rPr lang="en-GB" sz="667" spc="-100">
                    <a:latin typeface="Arial"/>
                    <a:cs typeface="Arial"/>
                  </a:rPr>
                  <a:t> </a:t>
                </a:r>
                <a:r>
                  <a:rPr lang="en-GB" sz="667" spc="7">
                    <a:latin typeface="Arial"/>
                    <a:cs typeface="Arial"/>
                  </a:rPr>
                  <a:t>2024</a:t>
                </a:r>
                <a:endParaRPr sz="733">
                  <a:latin typeface="Arial"/>
                  <a:cs typeface="Arial"/>
                </a:endParaRPr>
              </a:p>
            </p:txBody>
          </p:sp>
          <p:sp>
            <p:nvSpPr>
              <p:cNvPr id="42" name="object 12">
                <a:extLst>
                  <a:ext uri="{FF2B5EF4-FFF2-40B4-BE49-F238E27FC236}">
                    <a16:creationId xmlns:a16="http://schemas.microsoft.com/office/drawing/2014/main" id="{4A2D83E2-A974-40FA-BC3C-3E3CEABCFD10}"/>
                  </a:ext>
                </a:extLst>
              </p:cNvPr>
              <p:cNvSpPr/>
              <p:nvPr/>
            </p:nvSpPr>
            <p:spPr>
              <a:xfrm>
                <a:off x="631995" y="1555817"/>
                <a:ext cx="200749" cy="196663"/>
              </a:xfrm>
              <a:prstGeom prst="rect">
                <a:avLst/>
              </a:prstGeom>
              <a:blipFill>
                <a:blip r:embed="rId8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400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73725BAC-A025-4AC0-BB80-DFAA0D2DF1BF}"/>
                  </a:ext>
                </a:extLst>
              </p:cNvPr>
              <p:cNvSpPr txBox="1"/>
              <p:nvPr/>
            </p:nvSpPr>
            <p:spPr>
              <a:xfrm>
                <a:off x="1030896" y="1509850"/>
                <a:ext cx="576062" cy="123749"/>
              </a:xfrm>
              <a:prstGeom prst="rect">
                <a:avLst/>
              </a:prstGeom>
              <a:solidFill>
                <a:srgbClr val="D9D9D9">
                  <a:alpha val="78824"/>
                </a:srgbClr>
              </a:solidFill>
            </p:spPr>
            <p:txBody>
              <a:bodyPr wrap="square" rtlCol="0">
                <a:noAutofit/>
              </a:bodyPr>
              <a:lstStyle/>
              <a:p>
                <a:pPr algn="ctr"/>
                <a:endParaRPr lang="en-GB" sz="800" b="1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AF11E6F7-2B4C-4AFC-9C3F-3EB31F731904}"/>
              </a:ext>
            </a:extLst>
          </p:cNvPr>
          <p:cNvSpPr/>
          <p:nvPr/>
        </p:nvSpPr>
        <p:spPr>
          <a:xfrm>
            <a:off x="1445493" y="2241872"/>
            <a:ext cx="768083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67" b="1">
                <a:solidFill>
                  <a:schemeClr val="bg1">
                    <a:lumMod val="50000"/>
                  </a:schemeClr>
                </a:solidFill>
              </a:rPr>
              <a:t>US Hub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AEB6AFC-A764-4CA3-A19B-7C3975F070C2}"/>
              </a:ext>
            </a:extLst>
          </p:cNvPr>
          <p:cNvGrpSpPr/>
          <p:nvPr/>
        </p:nvGrpSpPr>
        <p:grpSpPr>
          <a:xfrm>
            <a:off x="1844811" y="4624489"/>
            <a:ext cx="1711939" cy="535828"/>
            <a:chOff x="1383608" y="3468367"/>
            <a:chExt cx="1283954" cy="401871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746DC39-A7FF-4BE0-BCE8-465D4645D4B5}"/>
                </a:ext>
              </a:extLst>
            </p:cNvPr>
            <p:cNvSpPr/>
            <p:nvPr/>
          </p:nvSpPr>
          <p:spPr bwMode="auto">
            <a:xfrm>
              <a:off x="1561565" y="3617124"/>
              <a:ext cx="1087146" cy="253114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sp>
          <p:nvSpPr>
            <p:cNvPr id="47" name="object 11">
              <a:extLst>
                <a:ext uri="{FF2B5EF4-FFF2-40B4-BE49-F238E27FC236}">
                  <a16:creationId xmlns:a16="http://schemas.microsoft.com/office/drawing/2014/main" id="{CDFE5EB4-6575-44D2-9409-9E719E67ACFA}"/>
                </a:ext>
              </a:extLst>
            </p:cNvPr>
            <p:cNvSpPr txBox="1"/>
            <p:nvPr/>
          </p:nvSpPr>
          <p:spPr>
            <a:xfrm>
              <a:off x="1602116" y="3627101"/>
              <a:ext cx="1065446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95979A"/>
                  </a:solidFill>
                  <a:latin typeface="Arial"/>
                  <a:cs typeface="Arial"/>
                </a:rPr>
                <a:t>Brazil - ~2.7GW</a:t>
              </a:r>
              <a:r>
                <a:rPr sz="733" b="1" spc="7">
                  <a:solidFill>
                    <a:srgbClr val="95979A"/>
                  </a:solidFill>
                  <a:latin typeface="Arial"/>
                  <a:cs typeface="Arial"/>
                </a:rPr>
                <a:t>  </a:t>
              </a:r>
              <a:endParaRPr lang="en-GB" sz="733" b="1" spc="7">
                <a:solidFill>
                  <a:srgbClr val="95979A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lang="en-GB" sz="667" spc="13">
                  <a:latin typeface="Arial"/>
                  <a:cs typeface="Arial"/>
                </a:rPr>
                <a:t>Consent &gt;2024 - </a:t>
              </a:r>
              <a:r>
                <a:rPr sz="667" spc="13">
                  <a:latin typeface="Arial"/>
                  <a:cs typeface="Arial"/>
                </a:rPr>
                <a:t>COD </a:t>
              </a:r>
              <a:r>
                <a:rPr lang="en-GB" sz="667" spc="13">
                  <a:latin typeface="Arial"/>
                  <a:cs typeface="Arial"/>
                </a:rPr>
                <a:t>&gt;</a:t>
              </a:r>
              <a:r>
                <a:rPr sz="667" spc="13">
                  <a:latin typeface="Arial"/>
                  <a:cs typeface="Arial"/>
                </a:rPr>
                <a:t>203</a:t>
              </a:r>
              <a:r>
                <a:rPr lang="en-GB" sz="667" spc="13">
                  <a:latin typeface="Arial"/>
                  <a:cs typeface="Arial"/>
                </a:rPr>
                <a:t>0</a:t>
              </a:r>
              <a:endParaRPr sz="667" spc="13">
                <a:latin typeface="Arial"/>
                <a:cs typeface="Arial"/>
              </a:endParaRPr>
            </a:p>
          </p:txBody>
        </p:sp>
        <p:sp>
          <p:nvSpPr>
            <p:cNvPr id="48" name="object 48">
              <a:extLst>
                <a:ext uri="{FF2B5EF4-FFF2-40B4-BE49-F238E27FC236}">
                  <a16:creationId xmlns:a16="http://schemas.microsoft.com/office/drawing/2014/main" id="{64280BB9-AE64-4168-8ED2-067E1D11FE43}"/>
                </a:ext>
              </a:extLst>
            </p:cNvPr>
            <p:cNvSpPr/>
            <p:nvPr/>
          </p:nvSpPr>
          <p:spPr>
            <a:xfrm>
              <a:off x="1383608" y="3561257"/>
              <a:ext cx="196380" cy="20441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A7E9D5BE-BF2D-4BA4-B8E6-DA608588BA4C}"/>
                </a:ext>
              </a:extLst>
            </p:cNvPr>
            <p:cNvGrpSpPr/>
            <p:nvPr/>
          </p:nvGrpSpPr>
          <p:grpSpPr>
            <a:xfrm>
              <a:off x="1676963" y="3468367"/>
              <a:ext cx="700638" cy="192409"/>
              <a:chOff x="1183296" y="1616993"/>
              <a:chExt cx="700638" cy="192409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9F6C6E3F-1845-4E00-A5CD-445F40784C93}"/>
                  </a:ext>
                </a:extLst>
              </p:cNvPr>
              <p:cNvSpPr txBox="1"/>
              <p:nvPr/>
            </p:nvSpPr>
            <p:spPr>
              <a:xfrm>
                <a:off x="1183296" y="1662250"/>
                <a:ext cx="700638" cy="123749"/>
              </a:xfrm>
              <a:prstGeom prst="rect">
                <a:avLst/>
              </a:prstGeom>
              <a:solidFill>
                <a:srgbClr val="D9D9D9">
                  <a:alpha val="78824"/>
                </a:srgbClr>
              </a:solidFill>
            </p:spPr>
            <p:txBody>
              <a:bodyPr wrap="square" rtlCol="0">
                <a:noAutofit/>
              </a:bodyPr>
              <a:lstStyle/>
              <a:p>
                <a:pPr algn="ctr"/>
                <a:endParaRPr lang="en-GB" sz="800" b="1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F96F4FFD-6A42-4515-85D8-C641E7482C5C}"/>
                  </a:ext>
                </a:extLst>
              </p:cNvPr>
              <p:cNvSpPr/>
              <p:nvPr/>
            </p:nvSpPr>
            <p:spPr>
              <a:xfrm>
                <a:off x="1340580" y="1616993"/>
                <a:ext cx="390973" cy="19240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GB" sz="1067" b="1">
                    <a:solidFill>
                      <a:schemeClr val="bg1">
                        <a:lumMod val="50000"/>
                      </a:schemeClr>
                    </a:solidFill>
                  </a:rPr>
                  <a:t>Brazil</a:t>
                </a:r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76FC0E8E-D685-480E-9DF0-B45C15340E24}"/>
              </a:ext>
            </a:extLst>
          </p:cNvPr>
          <p:cNvSpPr/>
          <p:nvPr/>
        </p:nvSpPr>
        <p:spPr bwMode="auto">
          <a:xfrm>
            <a:off x="7023736" y="1519430"/>
            <a:ext cx="1599032" cy="1535193"/>
          </a:xfrm>
          <a:prstGeom prst="rect">
            <a:avLst/>
          </a:prstGeom>
          <a:solidFill>
            <a:srgbClr val="FFFFFF">
              <a:alpha val="69804"/>
            </a:srgb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6453B8E-AF68-40D1-BAD8-0133EA4BD275}"/>
              </a:ext>
            </a:extLst>
          </p:cNvPr>
          <p:cNvGrpSpPr/>
          <p:nvPr/>
        </p:nvGrpSpPr>
        <p:grpSpPr>
          <a:xfrm>
            <a:off x="6942428" y="2756928"/>
            <a:ext cx="1780769" cy="263063"/>
            <a:chOff x="5172654" y="2067694"/>
            <a:chExt cx="1335577" cy="197297"/>
          </a:xfrm>
        </p:grpSpPr>
        <p:sp>
          <p:nvSpPr>
            <p:cNvPr id="54" name="object 11">
              <a:extLst>
                <a:ext uri="{FF2B5EF4-FFF2-40B4-BE49-F238E27FC236}">
                  <a16:creationId xmlns:a16="http://schemas.microsoft.com/office/drawing/2014/main" id="{19DFCFFC-A422-4E54-8067-E69CC16CFD1F}"/>
                </a:ext>
              </a:extLst>
            </p:cNvPr>
            <p:cNvSpPr txBox="1"/>
            <p:nvPr/>
          </p:nvSpPr>
          <p:spPr>
            <a:xfrm>
              <a:off x="5324512" y="2067694"/>
              <a:ext cx="1183719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95979A"/>
                  </a:solidFill>
                  <a:latin typeface="Arial"/>
                  <a:cs typeface="Arial"/>
                </a:rPr>
                <a:t>Sweden </a:t>
              </a:r>
              <a:r>
                <a:rPr lang="en-GB" sz="733" spc="7">
                  <a:solidFill>
                    <a:srgbClr val="95979A"/>
                  </a:solidFill>
                  <a:latin typeface="Arial"/>
                  <a:cs typeface="Arial"/>
                </a:rPr>
                <a:t>(8 projects) - up to</a:t>
              </a:r>
              <a:r>
                <a:rPr sz="733" spc="7">
                  <a:solidFill>
                    <a:srgbClr val="95979A"/>
                  </a:solidFill>
                  <a:latin typeface="Arial"/>
                  <a:cs typeface="Arial"/>
                </a:rPr>
                <a:t> </a:t>
              </a:r>
              <a:r>
                <a:rPr lang="en-GB" sz="733" spc="7">
                  <a:solidFill>
                    <a:srgbClr val="95979A"/>
                  </a:solidFill>
                  <a:latin typeface="Arial"/>
                  <a:cs typeface="Arial"/>
                </a:rPr>
                <a:t>9GW</a:t>
              </a:r>
              <a:r>
                <a:rPr sz="733" spc="7">
                  <a:solidFill>
                    <a:srgbClr val="95979A"/>
                  </a:solidFill>
                  <a:latin typeface="Arial"/>
                  <a:cs typeface="Arial"/>
                </a:rPr>
                <a:t> </a:t>
              </a:r>
              <a:endParaRPr lang="en-GB" sz="733" spc="7">
                <a:solidFill>
                  <a:srgbClr val="95979A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lang="en-GB" sz="667" spc="7">
                  <a:latin typeface="Arial"/>
                  <a:cs typeface="Arial"/>
                </a:rPr>
                <a:t>Consent &gt;2021 - </a:t>
              </a:r>
              <a:r>
                <a:rPr sz="667" spc="7">
                  <a:latin typeface="Arial"/>
                  <a:cs typeface="Arial"/>
                </a:rPr>
                <a:t>COD </a:t>
              </a:r>
              <a:r>
                <a:rPr lang="en-GB" sz="667" spc="7">
                  <a:latin typeface="Arial"/>
                  <a:cs typeface="Arial"/>
                </a:rPr>
                <a:t>&gt;</a:t>
              </a:r>
              <a:r>
                <a:rPr sz="667" spc="7">
                  <a:latin typeface="Arial"/>
                  <a:cs typeface="Arial"/>
                </a:rPr>
                <a:t>20</a:t>
              </a:r>
              <a:r>
                <a:rPr lang="en-GB" sz="667" spc="7">
                  <a:latin typeface="Arial"/>
                  <a:cs typeface="Arial"/>
                </a:rPr>
                <a:t>29</a:t>
              </a:r>
              <a:endParaRPr sz="667" spc="7">
                <a:latin typeface="Arial"/>
                <a:cs typeface="Arial"/>
              </a:endParaRPr>
            </a:p>
          </p:txBody>
        </p:sp>
        <p:sp>
          <p:nvSpPr>
            <p:cNvPr id="55" name="object 51">
              <a:extLst>
                <a:ext uri="{FF2B5EF4-FFF2-40B4-BE49-F238E27FC236}">
                  <a16:creationId xmlns:a16="http://schemas.microsoft.com/office/drawing/2014/main" id="{75EA4A34-7D28-4BC8-95FE-43C330D25F5E}"/>
                </a:ext>
              </a:extLst>
            </p:cNvPr>
            <p:cNvSpPr/>
            <p:nvPr/>
          </p:nvSpPr>
          <p:spPr>
            <a:xfrm>
              <a:off x="5172654" y="2114325"/>
              <a:ext cx="137437" cy="143332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4"/>
              <a:endParaRPr sz="1801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2E3B301-5126-480C-8B03-89C5F284E6AD}"/>
              </a:ext>
            </a:extLst>
          </p:cNvPr>
          <p:cNvGrpSpPr/>
          <p:nvPr/>
        </p:nvGrpSpPr>
        <p:grpSpPr>
          <a:xfrm>
            <a:off x="6942427" y="1518044"/>
            <a:ext cx="1330812" cy="263063"/>
            <a:chOff x="5171678" y="1138532"/>
            <a:chExt cx="998109" cy="197297"/>
          </a:xfrm>
        </p:grpSpPr>
        <p:sp>
          <p:nvSpPr>
            <p:cNvPr id="57" name="object 11">
              <a:extLst>
                <a:ext uri="{FF2B5EF4-FFF2-40B4-BE49-F238E27FC236}">
                  <a16:creationId xmlns:a16="http://schemas.microsoft.com/office/drawing/2014/main" id="{CEBCAA29-13A0-41E4-BB97-017FA87C9AA8}"/>
                </a:ext>
              </a:extLst>
            </p:cNvPr>
            <p:cNvSpPr txBox="1"/>
            <p:nvPr/>
          </p:nvSpPr>
          <p:spPr>
            <a:xfrm>
              <a:off x="5324512" y="1138532"/>
              <a:ext cx="845275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005CB9"/>
                  </a:solidFill>
                  <a:latin typeface="Arial"/>
                  <a:cs typeface="Arial"/>
                </a:rPr>
                <a:t>Wikinger - </a:t>
              </a:r>
              <a:r>
                <a:rPr lang="en-GB" sz="733" spc="7">
                  <a:solidFill>
                    <a:srgbClr val="005CB9"/>
                  </a:solidFill>
                  <a:latin typeface="Arial"/>
                  <a:cs typeface="Arial"/>
                </a:rPr>
                <a:t>350</a:t>
              </a:r>
              <a:r>
                <a:rPr sz="733" spc="7">
                  <a:solidFill>
                    <a:srgbClr val="005CB9"/>
                  </a:solidFill>
                  <a:latin typeface="Arial"/>
                  <a:cs typeface="Arial"/>
                </a:rPr>
                <a:t>MW  </a:t>
              </a:r>
              <a:endParaRPr lang="en-GB" sz="733" spc="7">
                <a:solidFill>
                  <a:srgbClr val="005CB9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sz="667" spc="7">
                  <a:latin typeface="Arial"/>
                  <a:cs typeface="Arial"/>
                </a:rPr>
                <a:t>Consent 20</a:t>
              </a:r>
              <a:r>
                <a:rPr lang="en-GB" sz="667" spc="7">
                  <a:latin typeface="Arial"/>
                  <a:cs typeface="Arial"/>
                </a:rPr>
                <a:t>15</a:t>
              </a:r>
              <a:r>
                <a:rPr sz="667" spc="7">
                  <a:latin typeface="Arial"/>
                  <a:cs typeface="Arial"/>
                </a:rPr>
                <a:t> - COD 20</a:t>
              </a:r>
              <a:r>
                <a:rPr lang="en-GB" sz="667" spc="7">
                  <a:latin typeface="Arial"/>
                  <a:cs typeface="Arial"/>
                </a:rPr>
                <a:t>17</a:t>
              </a:r>
              <a:endParaRPr sz="667" spc="7">
                <a:latin typeface="Arial"/>
                <a:cs typeface="Arial"/>
              </a:endParaRPr>
            </a:p>
          </p:txBody>
        </p:sp>
        <p:sp>
          <p:nvSpPr>
            <p:cNvPr id="58" name="object 27">
              <a:extLst>
                <a:ext uri="{FF2B5EF4-FFF2-40B4-BE49-F238E27FC236}">
                  <a16:creationId xmlns:a16="http://schemas.microsoft.com/office/drawing/2014/main" id="{2A281DBA-3893-432B-AB43-7AA47DFEE5CE}"/>
                </a:ext>
              </a:extLst>
            </p:cNvPr>
            <p:cNvSpPr/>
            <p:nvPr/>
          </p:nvSpPr>
          <p:spPr>
            <a:xfrm>
              <a:off x="5171678" y="1193501"/>
              <a:ext cx="143004" cy="13545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4"/>
              <a:endParaRPr sz="1801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891DC14-534C-4F9E-9596-8721D3B422AE}"/>
              </a:ext>
            </a:extLst>
          </p:cNvPr>
          <p:cNvGrpSpPr/>
          <p:nvPr/>
        </p:nvGrpSpPr>
        <p:grpSpPr>
          <a:xfrm>
            <a:off x="7147034" y="1286440"/>
            <a:ext cx="1395799" cy="256545"/>
            <a:chOff x="1183296" y="1616676"/>
            <a:chExt cx="1046849" cy="192409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ACE3167-BFC1-4814-A047-9004BAEF13D3}"/>
                </a:ext>
              </a:extLst>
            </p:cNvPr>
            <p:cNvSpPr txBox="1"/>
            <p:nvPr/>
          </p:nvSpPr>
          <p:spPr>
            <a:xfrm>
              <a:off x="1183296" y="1662250"/>
              <a:ext cx="965340" cy="123749"/>
            </a:xfrm>
            <a:prstGeom prst="rect">
              <a:avLst/>
            </a:prstGeom>
            <a:solidFill>
              <a:srgbClr val="D9D9D9">
                <a:alpha val="78824"/>
              </a:srgbClr>
            </a:solidFill>
          </p:spPr>
          <p:txBody>
            <a:bodyPr wrap="square" rtlCol="0">
              <a:noAutofit/>
            </a:bodyPr>
            <a:lstStyle/>
            <a:p>
              <a:pPr algn="ctr"/>
              <a:endParaRPr lang="en-GB" sz="800" b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A01234E-B451-420F-9F44-E5EAEBC0C3F1}"/>
                </a:ext>
              </a:extLst>
            </p:cNvPr>
            <p:cNvSpPr/>
            <p:nvPr/>
          </p:nvSpPr>
          <p:spPr>
            <a:xfrm>
              <a:off x="1183296" y="1616676"/>
              <a:ext cx="1046849" cy="1924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067" b="1">
                  <a:solidFill>
                    <a:schemeClr val="bg1">
                      <a:lumMod val="50000"/>
                    </a:schemeClr>
                  </a:solidFill>
                </a:rPr>
                <a:t>Continental EU</a:t>
              </a:r>
            </a:p>
          </p:txBody>
        </p:sp>
      </p:grpSp>
      <p:pic>
        <p:nvPicPr>
          <p:cNvPr id="62" name="Picture 61">
            <a:extLst>
              <a:ext uri="{FF2B5EF4-FFF2-40B4-BE49-F238E27FC236}">
                <a16:creationId xmlns:a16="http://schemas.microsoft.com/office/drawing/2014/main" id="{0596C966-4667-4A7C-B017-B31D6EE76413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068489" y="1302760"/>
            <a:ext cx="240000" cy="2400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C9E4C1D8-55F1-498E-99F4-DD4CDDC88459}"/>
              </a:ext>
            </a:extLst>
          </p:cNvPr>
          <p:cNvGrpSpPr/>
          <p:nvPr/>
        </p:nvGrpSpPr>
        <p:grpSpPr>
          <a:xfrm>
            <a:off x="6942427" y="2447207"/>
            <a:ext cx="1408141" cy="263063"/>
            <a:chOff x="5171678" y="1366675"/>
            <a:chExt cx="1056106" cy="197297"/>
          </a:xfrm>
        </p:grpSpPr>
        <p:sp>
          <p:nvSpPr>
            <p:cNvPr id="64" name="object 11">
              <a:extLst>
                <a:ext uri="{FF2B5EF4-FFF2-40B4-BE49-F238E27FC236}">
                  <a16:creationId xmlns:a16="http://schemas.microsoft.com/office/drawing/2014/main" id="{4899DF9A-49B1-4B27-94B8-EA29FDC8EF7C}"/>
                </a:ext>
              </a:extLst>
            </p:cNvPr>
            <p:cNvSpPr txBox="1"/>
            <p:nvPr/>
          </p:nvSpPr>
          <p:spPr>
            <a:xfrm>
              <a:off x="5324512" y="1366675"/>
              <a:ext cx="903272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 err="1">
                  <a:solidFill>
                    <a:srgbClr val="5C881A"/>
                  </a:solidFill>
                  <a:latin typeface="Arial"/>
                  <a:cs typeface="Arial"/>
                </a:rPr>
                <a:t>Windanker</a:t>
              </a:r>
              <a:r>
                <a:rPr lang="en-GB" sz="733" b="1" spc="7">
                  <a:solidFill>
                    <a:srgbClr val="5C881A"/>
                  </a:solidFill>
                  <a:latin typeface="Arial"/>
                  <a:cs typeface="Arial"/>
                </a:rPr>
                <a:t> - </a:t>
              </a:r>
              <a:r>
                <a:rPr lang="en-GB" sz="733" spc="7">
                  <a:solidFill>
                    <a:srgbClr val="5C881A"/>
                  </a:solidFill>
                  <a:latin typeface="Arial"/>
                  <a:cs typeface="Arial"/>
                </a:rPr>
                <a:t>308</a:t>
              </a:r>
              <a:r>
                <a:rPr sz="733" spc="7">
                  <a:solidFill>
                    <a:srgbClr val="5C881A"/>
                  </a:solidFill>
                  <a:latin typeface="Arial"/>
                  <a:cs typeface="Arial"/>
                </a:rPr>
                <a:t>MW</a:t>
              </a:r>
              <a:r>
                <a:rPr sz="733" spc="7">
                  <a:solidFill>
                    <a:srgbClr val="ABBD36"/>
                  </a:solidFill>
                  <a:latin typeface="Arial"/>
                  <a:cs typeface="Arial"/>
                </a:rPr>
                <a:t>  </a:t>
              </a:r>
              <a:endParaRPr lang="en-GB" sz="733" spc="7">
                <a:solidFill>
                  <a:srgbClr val="ABBD36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sz="667" spc="7">
                  <a:latin typeface="Arial"/>
                  <a:cs typeface="Arial"/>
                </a:rPr>
                <a:t>Consent 20</a:t>
              </a:r>
              <a:r>
                <a:rPr lang="en-GB" sz="667" spc="7">
                  <a:latin typeface="Arial"/>
                  <a:cs typeface="Arial"/>
                </a:rPr>
                <a:t>21</a:t>
              </a:r>
              <a:r>
                <a:rPr sz="667" spc="7">
                  <a:latin typeface="Arial"/>
                  <a:cs typeface="Arial"/>
                </a:rPr>
                <a:t> - COD 202</a:t>
              </a:r>
              <a:r>
                <a:rPr lang="en-GB" sz="667" spc="7">
                  <a:latin typeface="Arial"/>
                  <a:cs typeface="Arial"/>
                </a:rPr>
                <a:t>6</a:t>
              </a:r>
              <a:endParaRPr sz="667" spc="7">
                <a:latin typeface="Arial"/>
                <a:cs typeface="Arial"/>
              </a:endParaRPr>
            </a:p>
          </p:txBody>
        </p:sp>
        <p:sp>
          <p:nvSpPr>
            <p:cNvPr id="65" name="object 27">
              <a:extLst>
                <a:ext uri="{FF2B5EF4-FFF2-40B4-BE49-F238E27FC236}">
                  <a16:creationId xmlns:a16="http://schemas.microsoft.com/office/drawing/2014/main" id="{4EC86202-BB3F-4BB9-B81A-76073ED797AE}"/>
                </a:ext>
              </a:extLst>
            </p:cNvPr>
            <p:cNvSpPr/>
            <p:nvPr/>
          </p:nvSpPr>
          <p:spPr>
            <a:xfrm>
              <a:off x="5171678" y="1419042"/>
              <a:ext cx="143004" cy="13545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4"/>
              <a:endParaRPr sz="1801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882CF43-CAC1-41D8-80BD-FC95BAC1F34D}"/>
              </a:ext>
            </a:extLst>
          </p:cNvPr>
          <p:cNvGrpSpPr/>
          <p:nvPr/>
        </p:nvGrpSpPr>
        <p:grpSpPr>
          <a:xfrm>
            <a:off x="6942428" y="1827766"/>
            <a:ext cx="1336049" cy="263063"/>
            <a:chOff x="5171678" y="1594818"/>
            <a:chExt cx="1002037" cy="197297"/>
          </a:xfrm>
        </p:grpSpPr>
        <p:sp>
          <p:nvSpPr>
            <p:cNvPr id="67" name="object 11">
              <a:extLst>
                <a:ext uri="{FF2B5EF4-FFF2-40B4-BE49-F238E27FC236}">
                  <a16:creationId xmlns:a16="http://schemas.microsoft.com/office/drawing/2014/main" id="{19B5A7CA-FEFA-411A-B43E-DEE276EBF969}"/>
                </a:ext>
              </a:extLst>
            </p:cNvPr>
            <p:cNvSpPr txBox="1"/>
            <p:nvPr/>
          </p:nvSpPr>
          <p:spPr>
            <a:xfrm>
              <a:off x="5324512" y="1594818"/>
              <a:ext cx="849203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F16022"/>
                  </a:solidFill>
                  <a:latin typeface="Arial"/>
                  <a:cs typeface="Arial"/>
                </a:rPr>
                <a:t>Baltic Eagle - </a:t>
              </a:r>
              <a:r>
                <a:rPr lang="en-GB" sz="733" spc="7">
                  <a:solidFill>
                    <a:srgbClr val="F16022"/>
                  </a:solidFill>
                  <a:latin typeface="Arial"/>
                  <a:cs typeface="Arial"/>
                </a:rPr>
                <a:t>476</a:t>
              </a:r>
              <a:r>
                <a:rPr sz="733" spc="7">
                  <a:solidFill>
                    <a:srgbClr val="F16022"/>
                  </a:solidFill>
                  <a:latin typeface="Arial"/>
                  <a:cs typeface="Arial"/>
                </a:rPr>
                <a:t>MW  </a:t>
              </a:r>
              <a:endParaRPr lang="en-GB" sz="733" spc="7">
                <a:solidFill>
                  <a:srgbClr val="F16022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sz="667" spc="7">
                  <a:latin typeface="Arial"/>
                  <a:cs typeface="Arial"/>
                </a:rPr>
                <a:t>Consent 20</a:t>
              </a:r>
              <a:r>
                <a:rPr lang="en-GB" sz="667" spc="7">
                  <a:latin typeface="Arial"/>
                  <a:cs typeface="Arial"/>
                </a:rPr>
                <a:t>21</a:t>
              </a:r>
              <a:r>
                <a:rPr sz="667" spc="7">
                  <a:latin typeface="Arial"/>
                  <a:cs typeface="Arial"/>
                </a:rPr>
                <a:t> - COD 20</a:t>
              </a:r>
              <a:r>
                <a:rPr lang="en-GB" sz="667" spc="7">
                  <a:latin typeface="Arial"/>
                  <a:cs typeface="Arial"/>
                </a:rPr>
                <a:t>24</a:t>
              </a:r>
              <a:endParaRPr sz="667" spc="7">
                <a:latin typeface="Arial"/>
                <a:cs typeface="Arial"/>
              </a:endParaRPr>
            </a:p>
          </p:txBody>
        </p:sp>
        <p:sp>
          <p:nvSpPr>
            <p:cNvPr id="68" name="object 27">
              <a:extLst>
                <a:ext uri="{FF2B5EF4-FFF2-40B4-BE49-F238E27FC236}">
                  <a16:creationId xmlns:a16="http://schemas.microsoft.com/office/drawing/2014/main" id="{50B416C4-020D-4805-A17A-511B7FE0328B}"/>
                </a:ext>
              </a:extLst>
            </p:cNvPr>
            <p:cNvSpPr/>
            <p:nvPr/>
          </p:nvSpPr>
          <p:spPr>
            <a:xfrm>
              <a:off x="5171678" y="1644583"/>
              <a:ext cx="143004" cy="13545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4"/>
              <a:endParaRPr sz="1801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F93ACCD-3C23-4E60-8308-B3D815A8392C}"/>
              </a:ext>
            </a:extLst>
          </p:cNvPr>
          <p:cNvGrpSpPr/>
          <p:nvPr/>
        </p:nvGrpSpPr>
        <p:grpSpPr>
          <a:xfrm>
            <a:off x="6942427" y="2137487"/>
            <a:ext cx="1369343" cy="263063"/>
            <a:chOff x="5167873" y="1822961"/>
            <a:chExt cx="1027007" cy="197297"/>
          </a:xfrm>
        </p:grpSpPr>
        <p:sp>
          <p:nvSpPr>
            <p:cNvPr id="70" name="object 11">
              <a:extLst>
                <a:ext uri="{FF2B5EF4-FFF2-40B4-BE49-F238E27FC236}">
                  <a16:creationId xmlns:a16="http://schemas.microsoft.com/office/drawing/2014/main" id="{3BABB127-75CC-49F9-B903-3ABD0FF28353}"/>
                </a:ext>
              </a:extLst>
            </p:cNvPr>
            <p:cNvSpPr txBox="1"/>
            <p:nvPr/>
          </p:nvSpPr>
          <p:spPr>
            <a:xfrm>
              <a:off x="5324512" y="1822961"/>
              <a:ext cx="870368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F16022"/>
                  </a:solidFill>
                  <a:latin typeface="Arial"/>
                  <a:cs typeface="Arial"/>
                </a:rPr>
                <a:t>St. </a:t>
              </a:r>
              <a:r>
                <a:rPr lang="en-GB" sz="733" b="1" spc="7" err="1">
                  <a:solidFill>
                    <a:srgbClr val="F16022"/>
                  </a:solidFill>
                  <a:latin typeface="Arial"/>
                  <a:cs typeface="Arial"/>
                </a:rPr>
                <a:t>Brieuc</a:t>
              </a:r>
              <a:r>
                <a:rPr lang="en-GB" sz="733" b="1" spc="7">
                  <a:solidFill>
                    <a:srgbClr val="F16022"/>
                  </a:solidFill>
                  <a:latin typeface="Arial"/>
                  <a:cs typeface="Arial"/>
                </a:rPr>
                <a:t> - </a:t>
              </a:r>
              <a:r>
                <a:rPr lang="en-GB" sz="733" spc="7">
                  <a:solidFill>
                    <a:srgbClr val="F16022"/>
                  </a:solidFill>
                  <a:latin typeface="Arial"/>
                  <a:cs typeface="Arial"/>
                </a:rPr>
                <a:t>496</a:t>
              </a:r>
              <a:r>
                <a:rPr sz="733" spc="7">
                  <a:solidFill>
                    <a:srgbClr val="F16022"/>
                  </a:solidFill>
                  <a:latin typeface="Arial"/>
                  <a:cs typeface="Arial"/>
                </a:rPr>
                <a:t>MW  </a:t>
              </a:r>
              <a:endParaRPr lang="en-GB" sz="733" spc="7">
                <a:solidFill>
                  <a:srgbClr val="F16022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sz="667" spc="7">
                  <a:latin typeface="Arial"/>
                  <a:cs typeface="Arial"/>
                </a:rPr>
                <a:t>Consent 20</a:t>
              </a:r>
              <a:r>
                <a:rPr lang="en-GB" sz="667" spc="7">
                  <a:latin typeface="Arial"/>
                  <a:cs typeface="Arial"/>
                </a:rPr>
                <a:t>17</a:t>
              </a:r>
              <a:r>
                <a:rPr sz="667" spc="7">
                  <a:latin typeface="Arial"/>
                  <a:cs typeface="Arial"/>
                </a:rPr>
                <a:t> - COD 20</a:t>
              </a:r>
              <a:r>
                <a:rPr lang="en-GB" sz="667" spc="7">
                  <a:latin typeface="Arial"/>
                  <a:cs typeface="Arial"/>
                </a:rPr>
                <a:t>23</a:t>
              </a:r>
              <a:endParaRPr sz="667" spc="7">
                <a:latin typeface="Arial"/>
                <a:cs typeface="Arial"/>
              </a:endParaRPr>
            </a:p>
          </p:txBody>
        </p:sp>
        <p:sp>
          <p:nvSpPr>
            <p:cNvPr id="71" name="object 93">
              <a:extLst>
                <a:ext uri="{FF2B5EF4-FFF2-40B4-BE49-F238E27FC236}">
                  <a16:creationId xmlns:a16="http://schemas.microsoft.com/office/drawing/2014/main" id="{A2CB9ACD-D850-444E-9D74-106D3AE0AA65}"/>
                </a:ext>
              </a:extLst>
            </p:cNvPr>
            <p:cNvSpPr/>
            <p:nvPr/>
          </p:nvSpPr>
          <p:spPr>
            <a:xfrm>
              <a:off x="5167873" y="1870124"/>
              <a:ext cx="146931" cy="138489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40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017181F-5218-4C81-AB3F-134C45721263}"/>
              </a:ext>
            </a:extLst>
          </p:cNvPr>
          <p:cNvGrpSpPr/>
          <p:nvPr/>
        </p:nvGrpSpPr>
        <p:grpSpPr>
          <a:xfrm>
            <a:off x="4046661" y="866398"/>
            <a:ext cx="1877780" cy="1815248"/>
            <a:chOff x="3034996" y="649798"/>
            <a:chExt cx="1408335" cy="1361436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02E5FD83-A7D0-456C-9E4C-C5D61B054E51}"/>
                </a:ext>
              </a:extLst>
            </p:cNvPr>
            <p:cNvGrpSpPr/>
            <p:nvPr/>
          </p:nvGrpSpPr>
          <p:grpSpPr>
            <a:xfrm>
              <a:off x="3034996" y="649798"/>
              <a:ext cx="1408335" cy="1361436"/>
              <a:chOff x="3034996" y="649798"/>
              <a:chExt cx="1408335" cy="1361436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1300DD2-CA90-49DA-AD20-1953520433C1}"/>
                  </a:ext>
                </a:extLst>
              </p:cNvPr>
              <p:cNvSpPr/>
              <p:nvPr/>
            </p:nvSpPr>
            <p:spPr bwMode="auto">
              <a:xfrm>
                <a:off x="3209807" y="868489"/>
                <a:ext cx="1175125" cy="1142745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/>
              </a:p>
            </p:txBody>
          </p:sp>
          <p:pic>
            <p:nvPicPr>
              <p:cNvPr id="76" name="Picture 2" descr="Bandera De Irlanda 150 x 90 cm Satén Ireland Flag Durabol: Amazon.es:  Deportes y aire libre">
                <a:extLst>
                  <a:ext uri="{FF2B5EF4-FFF2-40B4-BE49-F238E27FC236}">
                    <a16:creationId xmlns:a16="http://schemas.microsoft.com/office/drawing/2014/main" id="{78035E89-8D3A-4649-965E-A8056FE722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727" r="16727"/>
              <a:stretch/>
            </p:blipFill>
            <p:spPr bwMode="auto">
              <a:xfrm>
                <a:off x="3034996" y="649798"/>
                <a:ext cx="193659" cy="199542"/>
              </a:xfrm>
              <a:prstGeom prst="ellipse">
                <a:avLst/>
              </a:prstGeom>
            </p:spPr>
          </p:pic>
          <p:sp>
            <p:nvSpPr>
              <p:cNvPr id="77" name="object 11">
                <a:extLst>
                  <a:ext uri="{FF2B5EF4-FFF2-40B4-BE49-F238E27FC236}">
                    <a16:creationId xmlns:a16="http://schemas.microsoft.com/office/drawing/2014/main" id="{39CC4073-54B0-4C0B-B4B7-834278EF20DE}"/>
                  </a:ext>
                </a:extLst>
              </p:cNvPr>
              <p:cNvSpPr txBox="1"/>
              <p:nvPr/>
            </p:nvSpPr>
            <p:spPr>
              <a:xfrm>
                <a:off x="3235920" y="878239"/>
                <a:ext cx="1207411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005CB9"/>
                    </a:solidFill>
                    <a:latin typeface="Arial"/>
                    <a:cs typeface="Arial"/>
                  </a:rPr>
                  <a:t>West of </a:t>
                </a:r>
                <a:r>
                  <a:rPr lang="en-GB" sz="733" b="1" spc="7" err="1">
                    <a:solidFill>
                      <a:srgbClr val="005CB9"/>
                    </a:solidFill>
                    <a:latin typeface="Arial"/>
                    <a:cs typeface="Arial"/>
                  </a:rPr>
                  <a:t>Duddon</a:t>
                </a:r>
                <a:r>
                  <a:rPr lang="en-GB" sz="733" b="1" spc="7">
                    <a:solidFill>
                      <a:srgbClr val="005CB9"/>
                    </a:solidFill>
                    <a:latin typeface="Arial"/>
                    <a:cs typeface="Arial"/>
                  </a:rPr>
                  <a:t> Sands - </a:t>
                </a:r>
                <a:r>
                  <a:rPr lang="en-GB" sz="733" spc="7">
                    <a:solidFill>
                      <a:srgbClr val="005CB9"/>
                    </a:solidFill>
                    <a:latin typeface="Arial"/>
                    <a:cs typeface="Arial"/>
                  </a:rPr>
                  <a:t>389</a:t>
                </a:r>
                <a:r>
                  <a:rPr sz="733" spc="7">
                    <a:solidFill>
                      <a:srgbClr val="005CB9"/>
                    </a:solidFill>
                    <a:latin typeface="Arial"/>
                    <a:cs typeface="Arial"/>
                  </a:rPr>
                  <a:t>MW  </a:t>
                </a:r>
                <a:endParaRPr lang="en-GB" sz="733" spc="7">
                  <a:solidFill>
                    <a:srgbClr val="005CB9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sz="667" spc="7">
                    <a:latin typeface="Arial"/>
                    <a:cs typeface="Arial"/>
                  </a:rPr>
                  <a:t>Consent 20</a:t>
                </a:r>
                <a:r>
                  <a:rPr lang="en-GB" sz="667" spc="7">
                    <a:latin typeface="Arial"/>
                    <a:cs typeface="Arial"/>
                  </a:rPr>
                  <a:t>11</a:t>
                </a:r>
                <a:r>
                  <a:rPr sz="667" spc="7">
                    <a:latin typeface="Arial"/>
                    <a:cs typeface="Arial"/>
                  </a:rPr>
                  <a:t> - COD 20</a:t>
                </a:r>
                <a:r>
                  <a:rPr lang="en-GB" sz="667" spc="7">
                    <a:latin typeface="Arial"/>
                    <a:cs typeface="Arial"/>
                  </a:rPr>
                  <a:t>1</a:t>
                </a:r>
                <a:r>
                  <a:rPr sz="667" spc="7">
                    <a:latin typeface="Arial"/>
                    <a:cs typeface="Arial"/>
                  </a:rPr>
                  <a:t>4</a:t>
                </a:r>
              </a:p>
            </p:txBody>
          </p:sp>
          <p:sp>
            <p:nvSpPr>
              <p:cNvPr id="78" name="object 98">
                <a:extLst>
                  <a:ext uri="{FF2B5EF4-FFF2-40B4-BE49-F238E27FC236}">
                    <a16:creationId xmlns:a16="http://schemas.microsoft.com/office/drawing/2014/main" id="{CBCA53B7-B949-47C2-9A66-946E38ED7DCB}"/>
                  </a:ext>
                </a:extLst>
              </p:cNvPr>
              <p:cNvSpPr/>
              <p:nvPr/>
            </p:nvSpPr>
            <p:spPr>
              <a:xfrm>
                <a:off x="3046862" y="888328"/>
                <a:ext cx="187957" cy="204415"/>
              </a:xfrm>
              <a:prstGeom prst="rect">
                <a:avLst/>
              </a:prstGeom>
              <a:blipFill>
                <a:blip r:embed="rId1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sz="2400"/>
              </a:p>
            </p:txBody>
          </p:sp>
          <p:sp>
            <p:nvSpPr>
              <p:cNvPr id="79" name="object 11">
                <a:extLst>
                  <a:ext uri="{FF2B5EF4-FFF2-40B4-BE49-F238E27FC236}">
                    <a16:creationId xmlns:a16="http://schemas.microsoft.com/office/drawing/2014/main" id="{3BCC1D85-DE6F-4767-86FD-28D7DD8DC921}"/>
                  </a:ext>
                </a:extLst>
              </p:cNvPr>
              <p:cNvSpPr txBox="1"/>
              <p:nvPr/>
            </p:nvSpPr>
            <p:spPr>
              <a:xfrm>
                <a:off x="3235920" y="1328134"/>
                <a:ext cx="996359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5C881A"/>
                    </a:solidFill>
                    <a:latin typeface="Arial"/>
                    <a:cs typeface="Arial"/>
                  </a:rPr>
                  <a:t>East Anglia Hub –</a:t>
                </a:r>
                <a:r>
                  <a:rPr lang="en-GB" sz="733" spc="7">
                    <a:solidFill>
                      <a:srgbClr val="5C881A"/>
                    </a:solidFill>
                    <a:latin typeface="Arial"/>
                    <a:cs typeface="Arial"/>
                  </a:rPr>
                  <a:t> 3.1G</a:t>
                </a:r>
                <a:r>
                  <a:rPr sz="733" spc="7">
                    <a:solidFill>
                      <a:srgbClr val="5C881A"/>
                    </a:solidFill>
                    <a:latin typeface="Arial"/>
                    <a:cs typeface="Arial"/>
                  </a:rPr>
                  <a:t>W</a:t>
                </a:r>
                <a:r>
                  <a:rPr sz="733" spc="7">
                    <a:solidFill>
                      <a:srgbClr val="ABBD36"/>
                    </a:solidFill>
                    <a:latin typeface="Arial"/>
                    <a:cs typeface="Arial"/>
                  </a:rPr>
                  <a:t>  </a:t>
                </a:r>
                <a:endParaRPr lang="en-GB" sz="733" spc="7">
                  <a:solidFill>
                    <a:srgbClr val="ABBD36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lang="en-GB" sz="667" spc="7">
                    <a:latin typeface="Arial"/>
                    <a:cs typeface="Arial"/>
                  </a:rPr>
                  <a:t>Consent 2017-22 - COD 2026/27</a:t>
                </a:r>
              </a:p>
            </p:txBody>
          </p:sp>
          <p:sp>
            <p:nvSpPr>
              <p:cNvPr id="80" name="object 11">
                <a:extLst>
                  <a:ext uri="{FF2B5EF4-FFF2-40B4-BE49-F238E27FC236}">
                    <a16:creationId xmlns:a16="http://schemas.microsoft.com/office/drawing/2014/main" id="{59CF489D-6CAF-4401-A5A5-15220DA6BC9F}"/>
                  </a:ext>
                </a:extLst>
              </p:cNvPr>
              <p:cNvSpPr txBox="1"/>
              <p:nvPr/>
            </p:nvSpPr>
            <p:spPr>
              <a:xfrm>
                <a:off x="3235920" y="1107098"/>
                <a:ext cx="918275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005CB9"/>
                    </a:solidFill>
                    <a:latin typeface="Arial"/>
                    <a:cs typeface="Arial"/>
                  </a:rPr>
                  <a:t>East Anglia ONE - </a:t>
                </a:r>
                <a:r>
                  <a:rPr lang="en-GB" sz="733" spc="7">
                    <a:solidFill>
                      <a:srgbClr val="005CB9"/>
                    </a:solidFill>
                    <a:latin typeface="Arial"/>
                    <a:cs typeface="Arial"/>
                  </a:rPr>
                  <a:t>714</a:t>
                </a:r>
                <a:r>
                  <a:rPr sz="733" spc="7">
                    <a:solidFill>
                      <a:srgbClr val="005CB9"/>
                    </a:solidFill>
                    <a:latin typeface="Arial"/>
                    <a:cs typeface="Arial"/>
                  </a:rPr>
                  <a:t>MW  </a:t>
                </a:r>
                <a:endParaRPr lang="en-GB" sz="733" spc="7">
                  <a:solidFill>
                    <a:srgbClr val="005CB9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sz="667" spc="7">
                    <a:latin typeface="Arial"/>
                    <a:cs typeface="Arial"/>
                  </a:rPr>
                  <a:t>Consent 20</a:t>
                </a:r>
                <a:r>
                  <a:rPr lang="en-GB" sz="667" spc="7">
                    <a:latin typeface="Arial"/>
                    <a:cs typeface="Arial"/>
                  </a:rPr>
                  <a:t>14</a:t>
                </a:r>
                <a:r>
                  <a:rPr sz="667" spc="7">
                    <a:latin typeface="Arial"/>
                    <a:cs typeface="Arial"/>
                  </a:rPr>
                  <a:t> - COD 202</a:t>
                </a:r>
                <a:r>
                  <a:rPr lang="en-GB" sz="667" spc="7">
                    <a:latin typeface="Arial"/>
                    <a:cs typeface="Arial"/>
                  </a:rPr>
                  <a:t>0</a:t>
                </a:r>
                <a:endParaRPr sz="667" spc="7">
                  <a:latin typeface="Arial"/>
                  <a:cs typeface="Arial"/>
                </a:endParaRPr>
              </a:p>
            </p:txBody>
          </p:sp>
          <p:sp>
            <p:nvSpPr>
              <p:cNvPr id="81" name="object 11">
                <a:extLst>
                  <a:ext uri="{FF2B5EF4-FFF2-40B4-BE49-F238E27FC236}">
                    <a16:creationId xmlns:a16="http://schemas.microsoft.com/office/drawing/2014/main" id="{F416CD11-2432-4FA8-98B3-7D0B12411A80}"/>
                  </a:ext>
                </a:extLst>
              </p:cNvPr>
              <p:cNvSpPr txBox="1"/>
              <p:nvPr/>
            </p:nvSpPr>
            <p:spPr>
              <a:xfrm>
                <a:off x="3235920" y="1773036"/>
                <a:ext cx="1050964" cy="200130"/>
              </a:xfrm>
              <a:prstGeom prst="rect">
                <a:avLst/>
              </a:prstGeom>
              <a:noFill/>
            </p:spPr>
            <p:txBody>
              <a:bodyPr vert="horz" wrap="square" lIns="0" tIns="48613" rIns="0" bIns="0" rtlCol="0">
                <a:spAutoFit/>
              </a:bodyPr>
              <a:lstStyle/>
              <a:p>
                <a:pPr marL="18344">
                  <a:spcBef>
                    <a:spcPts val="383"/>
                  </a:spcBef>
                </a:pPr>
                <a:r>
                  <a:rPr lang="en-GB" sz="733" b="1" spc="7">
                    <a:solidFill>
                      <a:srgbClr val="95979A"/>
                    </a:solidFill>
                    <a:latin typeface="Arial"/>
                    <a:cs typeface="Arial"/>
                  </a:rPr>
                  <a:t>Ireland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(3 projects) - up to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3GW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  </a:t>
                </a:r>
                <a:endParaRPr lang="en-GB" sz="733" spc="7">
                  <a:solidFill>
                    <a:srgbClr val="95979A"/>
                  </a:solidFill>
                  <a:latin typeface="Arial"/>
                  <a:cs typeface="Arial"/>
                </a:endParaRPr>
              </a:p>
              <a:p>
                <a:pPr marL="18344" marR="7337">
                  <a:lnSpc>
                    <a:spcPct val="110900"/>
                  </a:lnSpc>
                </a:pPr>
                <a:r>
                  <a:rPr lang="en-GB" sz="667" spc="7">
                    <a:latin typeface="Arial"/>
                    <a:cs typeface="Arial"/>
                  </a:rPr>
                  <a:t>Consent &gt;2023 - </a:t>
                </a:r>
                <a:r>
                  <a:rPr sz="667" spc="7">
                    <a:latin typeface="Arial"/>
                    <a:cs typeface="Arial"/>
                  </a:rPr>
                  <a:t>COD </a:t>
                </a:r>
                <a:r>
                  <a:rPr lang="en-GB" sz="667" spc="7">
                    <a:latin typeface="Arial"/>
                    <a:cs typeface="Arial"/>
                  </a:rPr>
                  <a:t>&gt;</a:t>
                </a:r>
                <a:r>
                  <a:rPr sz="667" spc="7">
                    <a:latin typeface="Arial"/>
                    <a:cs typeface="Arial"/>
                  </a:rPr>
                  <a:t>20</a:t>
                </a:r>
                <a:r>
                  <a:rPr lang="en-GB" sz="667" spc="7">
                    <a:latin typeface="Arial"/>
                    <a:cs typeface="Arial"/>
                  </a:rPr>
                  <a:t>28</a:t>
                </a:r>
                <a:endParaRPr sz="667" spc="7">
                  <a:latin typeface="Arial"/>
                  <a:cs typeface="Arial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0D9D6247-4B74-4381-B652-167B0C0632FF}"/>
                  </a:ext>
                </a:extLst>
              </p:cNvPr>
              <p:cNvGrpSpPr/>
              <p:nvPr/>
            </p:nvGrpSpPr>
            <p:grpSpPr>
              <a:xfrm>
                <a:off x="3436802" y="700438"/>
                <a:ext cx="705149" cy="192409"/>
                <a:chOff x="1183296" y="1616993"/>
                <a:chExt cx="705149" cy="192409"/>
              </a:xfrm>
            </p:grpSpPr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1EC539F4-CA7F-4614-9514-84441F3DBCDA}"/>
                    </a:ext>
                  </a:extLst>
                </p:cNvPr>
                <p:cNvSpPr txBox="1"/>
                <p:nvPr/>
              </p:nvSpPr>
              <p:spPr>
                <a:xfrm>
                  <a:off x="1183296" y="1662250"/>
                  <a:ext cx="700638" cy="123749"/>
                </a:xfrm>
                <a:prstGeom prst="rect">
                  <a:avLst/>
                </a:prstGeom>
                <a:solidFill>
                  <a:srgbClr val="D9D9D9">
                    <a:alpha val="78824"/>
                  </a:srgbClr>
                </a:solidFill>
              </p:spPr>
              <p:txBody>
                <a:bodyPr wrap="square" rtlCol="0">
                  <a:noAutofit/>
                </a:bodyPr>
                <a:lstStyle/>
                <a:p>
                  <a:pPr algn="ctr"/>
                  <a:endParaRPr lang="en-GB" sz="800" b="1">
                    <a:solidFill>
                      <a:schemeClr val="bg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84" name="Rectangle 83">
                  <a:extLst>
                    <a:ext uri="{FF2B5EF4-FFF2-40B4-BE49-F238E27FC236}">
                      <a16:creationId xmlns:a16="http://schemas.microsoft.com/office/drawing/2014/main" id="{B9F5AE48-6D0D-4AC5-844C-E6CB6712843A}"/>
                    </a:ext>
                  </a:extLst>
                </p:cNvPr>
                <p:cNvSpPr/>
                <p:nvPr/>
              </p:nvSpPr>
              <p:spPr>
                <a:xfrm>
                  <a:off x="1183685" y="1616993"/>
                  <a:ext cx="704760" cy="19240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GB" sz="1067" b="1">
                      <a:solidFill>
                        <a:schemeClr val="bg1">
                          <a:lumMod val="50000"/>
                        </a:schemeClr>
                      </a:solidFill>
                    </a:rPr>
                    <a:t>UK &amp; Ireland</a:t>
                  </a:r>
                </a:p>
              </p:txBody>
            </p:sp>
          </p:grpSp>
        </p:grpSp>
        <p:sp>
          <p:nvSpPr>
            <p:cNvPr id="74" name="object 11">
              <a:extLst>
                <a:ext uri="{FF2B5EF4-FFF2-40B4-BE49-F238E27FC236}">
                  <a16:creationId xmlns:a16="http://schemas.microsoft.com/office/drawing/2014/main" id="{0638861A-8419-4E5B-83E8-FD8A8E15EBB4}"/>
                </a:ext>
              </a:extLst>
            </p:cNvPr>
            <p:cNvSpPr txBox="1"/>
            <p:nvPr/>
          </p:nvSpPr>
          <p:spPr>
            <a:xfrm>
              <a:off x="3235920" y="1549170"/>
              <a:ext cx="1050964" cy="200130"/>
            </a:xfrm>
            <a:prstGeom prst="rect">
              <a:avLst/>
            </a:prstGeom>
            <a:noFill/>
          </p:spPr>
          <p:txBody>
            <a:bodyPr vert="horz" wrap="square" lIns="0" tIns="48613" rIns="0" bIns="0" rtlCol="0">
              <a:spAutoFit/>
            </a:bodyPr>
            <a:lstStyle/>
            <a:p>
              <a:pPr marL="18344">
                <a:spcBef>
                  <a:spcPts val="383"/>
                </a:spcBef>
              </a:pPr>
              <a:r>
                <a:rPr lang="en-GB" sz="733" b="1" spc="7">
                  <a:solidFill>
                    <a:srgbClr val="95979A"/>
                  </a:solidFill>
                  <a:latin typeface="Arial"/>
                  <a:cs typeface="Arial"/>
                </a:rPr>
                <a:t>Scotland </a:t>
              </a:r>
              <a:r>
                <a:rPr lang="en-GB" sz="733" spc="7">
                  <a:solidFill>
                    <a:srgbClr val="95979A"/>
                  </a:solidFill>
                  <a:latin typeface="Arial"/>
                  <a:cs typeface="Arial"/>
                </a:rPr>
                <a:t>(3 projects) - 7GW</a:t>
              </a:r>
              <a:r>
                <a:rPr sz="733" spc="7">
                  <a:solidFill>
                    <a:srgbClr val="95979A"/>
                  </a:solidFill>
                  <a:latin typeface="Arial"/>
                  <a:cs typeface="Arial"/>
                </a:rPr>
                <a:t>  </a:t>
              </a:r>
              <a:endParaRPr lang="en-GB" sz="733" spc="7">
                <a:solidFill>
                  <a:srgbClr val="95979A"/>
                </a:solidFill>
                <a:latin typeface="Arial"/>
                <a:cs typeface="Arial"/>
              </a:endParaRPr>
            </a:p>
            <a:p>
              <a:pPr marL="18344" marR="7337">
                <a:lnSpc>
                  <a:spcPct val="110900"/>
                </a:lnSpc>
              </a:pPr>
              <a:r>
                <a:rPr lang="en-GB" sz="667" spc="7">
                  <a:latin typeface="Arial"/>
                  <a:cs typeface="Arial"/>
                </a:rPr>
                <a:t>Consent &gt;2025 - </a:t>
              </a:r>
              <a:r>
                <a:rPr sz="667" spc="7">
                  <a:latin typeface="Arial"/>
                  <a:cs typeface="Arial"/>
                </a:rPr>
                <a:t>COD </a:t>
              </a:r>
              <a:r>
                <a:rPr lang="en-GB" sz="667" spc="7">
                  <a:latin typeface="Arial"/>
                  <a:cs typeface="Arial"/>
                </a:rPr>
                <a:t>&gt;</a:t>
              </a:r>
              <a:r>
                <a:rPr sz="667" spc="7">
                  <a:latin typeface="Arial"/>
                  <a:cs typeface="Arial"/>
                </a:rPr>
                <a:t>20</a:t>
              </a:r>
              <a:r>
                <a:rPr lang="en-GB" sz="667" spc="7">
                  <a:latin typeface="Arial"/>
                  <a:cs typeface="Arial"/>
                </a:rPr>
                <a:t>30</a:t>
              </a:r>
              <a:endParaRPr sz="667" spc="7">
                <a:latin typeface="Arial"/>
                <a:cs typeface="Arial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5AFF8C5-7B0A-4CE1-8AF6-DC65FF98067C}"/>
              </a:ext>
            </a:extLst>
          </p:cNvPr>
          <p:cNvGrpSpPr/>
          <p:nvPr/>
        </p:nvGrpSpPr>
        <p:grpSpPr>
          <a:xfrm>
            <a:off x="9834617" y="2384484"/>
            <a:ext cx="1881699" cy="1136120"/>
            <a:chOff x="7376057" y="1681222"/>
            <a:chExt cx="1411274" cy="852090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717AD795-455B-4567-9C67-F47D4958DCF4}"/>
                </a:ext>
              </a:extLst>
            </p:cNvPr>
            <p:cNvSpPr/>
            <p:nvPr/>
          </p:nvSpPr>
          <p:spPr bwMode="auto">
            <a:xfrm>
              <a:off x="7443710" y="1848017"/>
              <a:ext cx="1293415" cy="685295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74264E6-C3B2-4643-B21D-F50EE0A4FA7E}"/>
                </a:ext>
              </a:extLst>
            </p:cNvPr>
            <p:cNvGrpSpPr/>
            <p:nvPr/>
          </p:nvGrpSpPr>
          <p:grpSpPr>
            <a:xfrm>
              <a:off x="7548196" y="1681222"/>
              <a:ext cx="1046849" cy="192409"/>
              <a:chOff x="1183296" y="1616676"/>
              <a:chExt cx="1046849" cy="192409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72DFB50-2514-4B70-B71A-1AEADCAD26F2}"/>
                  </a:ext>
                </a:extLst>
              </p:cNvPr>
              <p:cNvSpPr txBox="1"/>
              <p:nvPr/>
            </p:nvSpPr>
            <p:spPr>
              <a:xfrm>
                <a:off x="1327084" y="1676538"/>
                <a:ext cx="746889" cy="123011"/>
              </a:xfrm>
              <a:prstGeom prst="rect">
                <a:avLst/>
              </a:prstGeom>
              <a:solidFill>
                <a:srgbClr val="D9D9D9">
                  <a:alpha val="78824"/>
                </a:srgbClr>
              </a:solidFill>
            </p:spPr>
            <p:txBody>
              <a:bodyPr wrap="square" rtlCol="0">
                <a:noAutofit/>
              </a:bodyPr>
              <a:lstStyle/>
              <a:p>
                <a:pPr algn="ctr"/>
                <a:endParaRPr lang="en-GB" sz="800" b="1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CA801B51-662B-4759-9635-4DFB286AC53F}"/>
                  </a:ext>
                </a:extLst>
              </p:cNvPr>
              <p:cNvSpPr/>
              <p:nvPr/>
            </p:nvSpPr>
            <p:spPr>
              <a:xfrm>
                <a:off x="1183296" y="1616676"/>
                <a:ext cx="1046849" cy="19240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1067" b="1">
                    <a:solidFill>
                      <a:schemeClr val="bg1">
                        <a:lumMod val="50000"/>
                      </a:schemeClr>
                    </a:solidFill>
                  </a:rPr>
                  <a:t>APAC</a:t>
                </a:r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E612FAEB-8808-4608-8249-29BC52E2DC22}"/>
                </a:ext>
              </a:extLst>
            </p:cNvPr>
            <p:cNvGrpSpPr/>
            <p:nvPr/>
          </p:nvGrpSpPr>
          <p:grpSpPr>
            <a:xfrm>
              <a:off x="7376057" y="1848524"/>
              <a:ext cx="1411274" cy="197297"/>
              <a:chOff x="6763051" y="1356448"/>
              <a:chExt cx="1411274" cy="197297"/>
            </a:xfrm>
          </p:grpSpPr>
          <p:sp>
            <p:nvSpPr>
              <p:cNvPr id="93" name="object 11">
                <a:extLst>
                  <a:ext uri="{FF2B5EF4-FFF2-40B4-BE49-F238E27FC236}">
                    <a16:creationId xmlns:a16="http://schemas.microsoft.com/office/drawing/2014/main" id="{A4D8403A-BE73-42DA-AEC0-AD6B4C1DBA6F}"/>
                  </a:ext>
                </a:extLst>
              </p:cNvPr>
              <p:cNvSpPr txBox="1"/>
              <p:nvPr/>
            </p:nvSpPr>
            <p:spPr>
              <a:xfrm>
                <a:off x="6896588" y="1356448"/>
                <a:ext cx="1277737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95979A"/>
                    </a:solidFill>
                    <a:latin typeface="Arial"/>
                    <a:cs typeface="Arial"/>
                  </a:rPr>
                  <a:t>Japan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(Acacia &amp; Aomori)</a:t>
                </a:r>
                <a:r>
                  <a:rPr lang="en-GB" sz="733" spc="7">
                    <a:solidFill>
                      <a:srgbClr val="2B2E30"/>
                    </a:solidFill>
                    <a:latin typeface="Arial"/>
                    <a:cs typeface="Arial"/>
                  </a:rPr>
                  <a:t>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up to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1.8G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W  </a:t>
                </a:r>
                <a:endParaRPr lang="en-GB" sz="733" spc="7">
                  <a:solidFill>
                    <a:srgbClr val="95979A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lang="en-GB" sz="667" spc="7">
                    <a:latin typeface="Arial"/>
                    <a:cs typeface="Arial"/>
                  </a:rPr>
                  <a:t>Consent &gt;2022 - </a:t>
                </a:r>
                <a:r>
                  <a:rPr sz="667" spc="7">
                    <a:latin typeface="Arial"/>
                    <a:cs typeface="Arial"/>
                  </a:rPr>
                  <a:t>COD </a:t>
                </a:r>
                <a:r>
                  <a:rPr lang="en-GB" sz="667" spc="7">
                    <a:latin typeface="Arial"/>
                    <a:cs typeface="Arial"/>
                  </a:rPr>
                  <a:t>&gt;</a:t>
                </a:r>
                <a:r>
                  <a:rPr sz="667" spc="7">
                    <a:latin typeface="Arial"/>
                    <a:cs typeface="Arial"/>
                  </a:rPr>
                  <a:t>20</a:t>
                </a:r>
                <a:r>
                  <a:rPr lang="en-GB" sz="667" spc="7">
                    <a:latin typeface="Arial"/>
                    <a:cs typeface="Arial"/>
                  </a:rPr>
                  <a:t>28</a:t>
                </a:r>
                <a:endParaRPr sz="667" spc="7">
                  <a:latin typeface="Arial"/>
                  <a:cs typeface="Arial"/>
                </a:endParaRPr>
              </a:p>
            </p:txBody>
          </p:sp>
          <p:pic>
            <p:nvPicPr>
              <p:cNvPr id="94" name="Imagen 73">
                <a:extLst>
                  <a:ext uri="{FF2B5EF4-FFF2-40B4-BE49-F238E27FC236}">
                    <a16:creationId xmlns:a16="http://schemas.microsoft.com/office/drawing/2014/main" id="{71176177-033D-41EA-A501-6843E334CF10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6"/>
              <a:srcRect l="17007" t="5911" r="17495" b="5230"/>
              <a:stretch/>
            </p:blipFill>
            <p:spPr>
              <a:xfrm>
                <a:off x="6763051" y="1409917"/>
                <a:ext cx="143003" cy="138334"/>
              </a:xfrm>
              <a:prstGeom prst="ellipse">
                <a:avLst/>
              </a:prstGeom>
            </p:spPr>
          </p:pic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EE1577B-7A0C-4934-9E94-C7456934195B}"/>
                </a:ext>
              </a:extLst>
            </p:cNvPr>
            <p:cNvGrpSpPr/>
            <p:nvPr/>
          </p:nvGrpSpPr>
          <p:grpSpPr>
            <a:xfrm>
              <a:off x="7376057" y="2066617"/>
              <a:ext cx="1234740" cy="197297"/>
              <a:chOff x="6763051" y="1574541"/>
              <a:chExt cx="1234740" cy="197297"/>
            </a:xfrm>
          </p:grpSpPr>
          <p:sp>
            <p:nvSpPr>
              <p:cNvPr id="91" name="object 11">
                <a:extLst>
                  <a:ext uri="{FF2B5EF4-FFF2-40B4-BE49-F238E27FC236}">
                    <a16:creationId xmlns:a16="http://schemas.microsoft.com/office/drawing/2014/main" id="{6D3268FA-8576-4267-852E-C0DBFC805C10}"/>
                  </a:ext>
                </a:extLst>
              </p:cNvPr>
              <p:cNvSpPr txBox="1"/>
              <p:nvPr/>
            </p:nvSpPr>
            <p:spPr>
              <a:xfrm>
                <a:off x="6912143" y="1574541"/>
                <a:ext cx="1085648" cy="197297"/>
              </a:xfrm>
              <a:prstGeom prst="rect">
                <a:avLst/>
              </a:prstGeom>
              <a:noFill/>
            </p:spPr>
            <p:txBody>
              <a:bodyPr vert="horz" wrap="square" lIns="0" tIns="44873" rIns="0" bIns="0" rtlCol="0">
                <a:spAutoFit/>
              </a:bodyPr>
              <a:lstStyle/>
              <a:p>
                <a:pPr marL="16933">
                  <a:spcBef>
                    <a:spcPts val="353"/>
                  </a:spcBef>
                </a:pPr>
                <a:r>
                  <a:rPr lang="en-GB" sz="733" b="1" spc="7">
                    <a:solidFill>
                      <a:srgbClr val="95979A"/>
                    </a:solidFill>
                    <a:latin typeface="Arial"/>
                    <a:cs typeface="Arial"/>
                  </a:rPr>
                  <a:t>Taiwan - </a:t>
                </a:r>
                <a:r>
                  <a:rPr lang="en-GB" sz="733" spc="7">
                    <a:solidFill>
                      <a:srgbClr val="95979A"/>
                    </a:solidFill>
                    <a:latin typeface="Arial"/>
                    <a:cs typeface="Arial"/>
                  </a:rPr>
                  <a:t>up to 1.2G</a:t>
                </a:r>
                <a:r>
                  <a:rPr sz="733" spc="7">
                    <a:solidFill>
                      <a:srgbClr val="95979A"/>
                    </a:solidFill>
                    <a:latin typeface="Arial"/>
                    <a:cs typeface="Arial"/>
                  </a:rPr>
                  <a:t>W</a:t>
                </a:r>
                <a:endParaRPr lang="en-GB" sz="733" spc="7">
                  <a:solidFill>
                    <a:srgbClr val="95979A"/>
                  </a:solidFill>
                  <a:latin typeface="Arial"/>
                  <a:cs typeface="Arial"/>
                </a:endParaRPr>
              </a:p>
              <a:p>
                <a:pPr marL="16933" marR="6773">
                  <a:lnSpc>
                    <a:spcPct val="110900"/>
                  </a:lnSpc>
                </a:pPr>
                <a:r>
                  <a:rPr lang="en-GB" sz="667" spc="7">
                    <a:latin typeface="Arial"/>
                    <a:cs typeface="Arial"/>
                  </a:rPr>
                  <a:t>Consent &gt;2023 - COD &gt;2029</a:t>
                </a:r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39201A62-47B9-4730-B60B-5199B40E4B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763051" y="1625698"/>
                <a:ext cx="138199" cy="138334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sp>
          <p:nvSpPr>
            <p:cNvPr id="90" name="object 11">
              <a:extLst>
                <a:ext uri="{FF2B5EF4-FFF2-40B4-BE49-F238E27FC236}">
                  <a16:creationId xmlns:a16="http://schemas.microsoft.com/office/drawing/2014/main" id="{9DB80A25-9DC3-4DD5-BB42-2AFC710A1280}"/>
                </a:ext>
              </a:extLst>
            </p:cNvPr>
            <p:cNvSpPr txBox="1"/>
            <p:nvPr/>
          </p:nvSpPr>
          <p:spPr>
            <a:xfrm>
              <a:off x="7542490" y="2282982"/>
              <a:ext cx="1085648" cy="197297"/>
            </a:xfrm>
            <a:prstGeom prst="rect">
              <a:avLst/>
            </a:prstGeom>
            <a:noFill/>
          </p:spPr>
          <p:txBody>
            <a:bodyPr vert="horz" wrap="square" lIns="0" tIns="44873" rIns="0" bIns="0" rtlCol="0">
              <a:spAutoFit/>
            </a:bodyPr>
            <a:lstStyle/>
            <a:p>
              <a:pPr marL="16933">
                <a:spcBef>
                  <a:spcPts val="353"/>
                </a:spcBef>
              </a:pPr>
              <a:r>
                <a:rPr lang="en-GB" sz="733" b="1" spc="7">
                  <a:solidFill>
                    <a:srgbClr val="95979A"/>
                  </a:solidFill>
                  <a:latin typeface="Arial"/>
                  <a:cs typeface="Arial"/>
                </a:rPr>
                <a:t>Philippines - 3</a:t>
              </a:r>
              <a:r>
                <a:rPr lang="en-GB" sz="733" spc="7">
                  <a:solidFill>
                    <a:srgbClr val="95979A"/>
                  </a:solidFill>
                  <a:latin typeface="Arial"/>
                  <a:cs typeface="Arial"/>
                </a:rPr>
                <a:t>.5G</a:t>
              </a:r>
              <a:r>
                <a:rPr sz="733" spc="7">
                  <a:solidFill>
                    <a:srgbClr val="95979A"/>
                  </a:solidFill>
                  <a:latin typeface="Arial"/>
                  <a:cs typeface="Arial"/>
                </a:rPr>
                <a:t>W</a:t>
              </a:r>
              <a:endParaRPr lang="en-GB" sz="733" spc="7">
                <a:solidFill>
                  <a:srgbClr val="95979A"/>
                </a:solidFill>
                <a:latin typeface="Arial"/>
                <a:cs typeface="Arial"/>
              </a:endParaRPr>
            </a:p>
            <a:p>
              <a:pPr marL="16933" marR="6773">
                <a:lnSpc>
                  <a:spcPct val="110900"/>
                </a:lnSpc>
              </a:pPr>
              <a:r>
                <a:rPr lang="en-GB" sz="667" spc="7">
                  <a:latin typeface="Arial"/>
                  <a:cs typeface="Arial"/>
                </a:rPr>
                <a:t>Consent &gt;2023 - COD &gt;2030</a:t>
              </a:r>
            </a:p>
          </p:txBody>
        </p:sp>
      </p:grpSp>
      <p:sp>
        <p:nvSpPr>
          <p:cNvPr id="97" name="object 63">
            <a:extLst>
              <a:ext uri="{FF2B5EF4-FFF2-40B4-BE49-F238E27FC236}">
                <a16:creationId xmlns:a16="http://schemas.microsoft.com/office/drawing/2014/main" id="{BA29FE9D-8404-4268-9A50-AF6F593B5BDE}"/>
              </a:ext>
            </a:extLst>
          </p:cNvPr>
          <p:cNvSpPr/>
          <p:nvPr/>
        </p:nvSpPr>
        <p:spPr>
          <a:xfrm>
            <a:off x="9888473" y="4380276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E86987D6-396D-42A7-999F-927CE5176D1F}"/>
              </a:ext>
            </a:extLst>
          </p:cNvPr>
          <p:cNvSpPr/>
          <p:nvPr/>
        </p:nvSpPr>
        <p:spPr bwMode="auto">
          <a:xfrm rot="627517">
            <a:off x="9659560" y="3585282"/>
            <a:ext cx="756920" cy="1060943"/>
          </a:xfrm>
          <a:prstGeom prst="ellipse">
            <a:avLst/>
          </a:prstGeom>
          <a:noFill/>
          <a:ln w="9525">
            <a:solidFill>
              <a:srgbClr val="5C881A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91327D9-FB86-4E0F-9B57-82549B47A387}"/>
              </a:ext>
            </a:extLst>
          </p:cNvPr>
          <p:cNvCxnSpPr>
            <a:cxnSpLocks/>
            <a:stCxn id="98" idx="7"/>
          </p:cNvCxnSpPr>
          <p:nvPr/>
        </p:nvCxnSpPr>
        <p:spPr>
          <a:xfrm flipV="1">
            <a:off x="10369277" y="3508539"/>
            <a:ext cx="341721" cy="286925"/>
          </a:xfrm>
          <a:prstGeom prst="line">
            <a:avLst/>
          </a:prstGeom>
          <a:ln w="6350">
            <a:solidFill>
              <a:srgbClr val="5C881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Oval 99">
            <a:extLst>
              <a:ext uri="{FF2B5EF4-FFF2-40B4-BE49-F238E27FC236}">
                <a16:creationId xmlns:a16="http://schemas.microsoft.com/office/drawing/2014/main" id="{EBB23340-3A28-4C00-A560-E9410C3B504C}"/>
              </a:ext>
            </a:extLst>
          </p:cNvPr>
          <p:cNvSpPr/>
          <p:nvPr/>
        </p:nvSpPr>
        <p:spPr bwMode="auto">
          <a:xfrm rot="2335775">
            <a:off x="5864872" y="2134599"/>
            <a:ext cx="473785" cy="1631012"/>
          </a:xfrm>
          <a:prstGeom prst="ellipse">
            <a:avLst/>
          </a:prstGeom>
          <a:noFill/>
          <a:ln w="9525">
            <a:solidFill>
              <a:srgbClr val="5C881A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01" name="object 63">
            <a:extLst>
              <a:ext uri="{FF2B5EF4-FFF2-40B4-BE49-F238E27FC236}">
                <a16:creationId xmlns:a16="http://schemas.microsoft.com/office/drawing/2014/main" id="{22928F5A-C21C-4573-9D44-EA37088AA895}"/>
              </a:ext>
            </a:extLst>
          </p:cNvPr>
          <p:cNvSpPr/>
          <p:nvPr/>
        </p:nvSpPr>
        <p:spPr>
          <a:xfrm>
            <a:off x="5664863" y="3010695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sp>
        <p:nvSpPr>
          <p:cNvPr id="102" name="object 63">
            <a:extLst>
              <a:ext uri="{FF2B5EF4-FFF2-40B4-BE49-F238E27FC236}">
                <a16:creationId xmlns:a16="http://schemas.microsoft.com/office/drawing/2014/main" id="{C8C3F9CF-28CF-4A24-97D0-6A8E5AEF1997}"/>
              </a:ext>
            </a:extLst>
          </p:cNvPr>
          <p:cNvSpPr/>
          <p:nvPr/>
        </p:nvSpPr>
        <p:spPr>
          <a:xfrm>
            <a:off x="6252621" y="2689727"/>
            <a:ext cx="131428" cy="1168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733"/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638D1FAF-FC67-40E2-81EF-BECF9C07D53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830336" y="3248724"/>
            <a:ext cx="194952" cy="18444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951549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477F99F-5204-4EEA-98B0-57BEBEEEEA4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0C4F1D5-3DD2-4A0A-A347-518D1AEC9B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0ACC033-70DC-424C-8934-0FBB377A11F8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en-US" dirty="0"/>
              <a:t>NC TOWER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6DA930B-04F3-49A9-B240-76134E5F71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293" y="447969"/>
            <a:ext cx="11057456" cy="457056"/>
          </a:xfrm>
        </p:spPr>
        <p:txBody>
          <a:bodyPr/>
          <a:lstStyle/>
          <a:p>
            <a:r>
              <a:rPr lang="en-US" dirty="0"/>
              <a:t>Kitty Hawk Lease Area Overview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AE22FEB-58F3-4F5A-BF53-313B1AE4986B}"/>
              </a:ext>
            </a:extLst>
          </p:cNvPr>
          <p:cNvSpPr>
            <a:spLocks noGrp="1"/>
          </p:cNvSpPr>
          <p:nvPr/>
        </p:nvSpPr>
        <p:spPr>
          <a:xfrm>
            <a:off x="3991871" y="2270254"/>
            <a:ext cx="1681805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100% Avangrid Renewables</a:t>
            </a:r>
          </a:p>
        </p:txBody>
      </p:sp>
      <p:sp>
        <p:nvSpPr>
          <p:cNvPr id="10" name="Text Placeholder 138">
            <a:extLst>
              <a:ext uri="{FF2B5EF4-FFF2-40B4-BE49-F238E27FC236}">
                <a16:creationId xmlns:a16="http://schemas.microsoft.com/office/drawing/2014/main" id="{10DE2491-F05F-4268-A0DD-BEF4B6AC1EB9}"/>
              </a:ext>
            </a:extLst>
          </p:cNvPr>
          <p:cNvSpPr>
            <a:spLocks noGrp="1"/>
          </p:cNvSpPr>
          <p:nvPr/>
        </p:nvSpPr>
        <p:spPr>
          <a:xfrm>
            <a:off x="4108685" y="2717617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Text Placeholder 145">
            <a:extLst>
              <a:ext uri="{FF2B5EF4-FFF2-40B4-BE49-F238E27FC236}">
                <a16:creationId xmlns:a16="http://schemas.microsoft.com/office/drawing/2014/main" id="{169897A8-5C9E-4A03-9F72-844D376719F1}"/>
              </a:ext>
            </a:extLst>
          </p:cNvPr>
          <p:cNvSpPr>
            <a:spLocks noGrp="1"/>
          </p:cNvSpPr>
          <p:nvPr/>
        </p:nvSpPr>
        <p:spPr>
          <a:xfrm>
            <a:off x="4108685" y="2703045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106F1475-F1CA-48F9-88D0-AEE9E96B567B}"/>
              </a:ext>
            </a:extLst>
          </p:cNvPr>
          <p:cNvSpPr>
            <a:spLocks noGrp="1"/>
          </p:cNvSpPr>
          <p:nvPr/>
        </p:nvSpPr>
        <p:spPr>
          <a:xfrm>
            <a:off x="1646414" y="2463061"/>
            <a:ext cx="1681805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2,500 MW </a:t>
            </a:r>
          </a:p>
        </p:txBody>
      </p:sp>
      <p:sp>
        <p:nvSpPr>
          <p:cNvPr id="13" name="Text Placeholder 146">
            <a:extLst>
              <a:ext uri="{FF2B5EF4-FFF2-40B4-BE49-F238E27FC236}">
                <a16:creationId xmlns:a16="http://schemas.microsoft.com/office/drawing/2014/main" id="{A64638F8-ED17-48D5-8133-A8ABCDED6568}"/>
              </a:ext>
            </a:extLst>
          </p:cNvPr>
          <p:cNvSpPr>
            <a:spLocks noGrp="1"/>
          </p:cNvSpPr>
          <p:nvPr/>
        </p:nvSpPr>
        <p:spPr>
          <a:xfrm>
            <a:off x="1755020" y="2726445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 Placeholder 147">
            <a:extLst>
              <a:ext uri="{FF2B5EF4-FFF2-40B4-BE49-F238E27FC236}">
                <a16:creationId xmlns:a16="http://schemas.microsoft.com/office/drawing/2014/main" id="{8FE7FEC1-89ED-4B31-B6FB-4476F4403EFA}"/>
              </a:ext>
            </a:extLst>
          </p:cNvPr>
          <p:cNvSpPr>
            <a:spLocks noGrp="1"/>
          </p:cNvSpPr>
          <p:nvPr/>
        </p:nvSpPr>
        <p:spPr>
          <a:xfrm>
            <a:off x="1755020" y="2711873"/>
            <a:ext cx="345263" cy="0"/>
          </a:xfrm>
          <a:prstGeom prst="rect">
            <a:avLst/>
          </a:prstGeom>
          <a:solidFill>
            <a:schemeClr val="accent2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172">
            <a:extLst>
              <a:ext uri="{FF2B5EF4-FFF2-40B4-BE49-F238E27FC236}">
                <a16:creationId xmlns:a16="http://schemas.microsoft.com/office/drawing/2014/main" id="{8DC6D24C-F2EF-48A2-B415-E56E582960FB}"/>
              </a:ext>
            </a:extLst>
          </p:cNvPr>
          <p:cNvSpPr>
            <a:spLocks noGrp="1"/>
          </p:cNvSpPr>
          <p:nvPr/>
        </p:nvSpPr>
        <p:spPr>
          <a:xfrm>
            <a:off x="1641282" y="2258918"/>
            <a:ext cx="1692675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CAPACITY</a:t>
            </a:r>
          </a:p>
        </p:txBody>
      </p:sp>
      <p:sp>
        <p:nvSpPr>
          <p:cNvPr id="18" name="Text Placeholder 174">
            <a:extLst>
              <a:ext uri="{FF2B5EF4-FFF2-40B4-BE49-F238E27FC236}">
                <a16:creationId xmlns:a16="http://schemas.microsoft.com/office/drawing/2014/main" id="{86A131F3-C23B-4505-84EC-9A018851F93C}"/>
              </a:ext>
            </a:extLst>
          </p:cNvPr>
          <p:cNvSpPr>
            <a:spLocks noGrp="1"/>
          </p:cNvSpPr>
          <p:nvPr/>
        </p:nvSpPr>
        <p:spPr>
          <a:xfrm>
            <a:off x="3994947" y="2041142"/>
            <a:ext cx="1692675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OWNERSHIP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678962E-D7CC-41BB-9F9F-C1DFD794460F}"/>
              </a:ext>
            </a:extLst>
          </p:cNvPr>
          <p:cNvSpPr>
            <a:spLocks noGrp="1"/>
          </p:cNvSpPr>
          <p:nvPr/>
        </p:nvSpPr>
        <p:spPr>
          <a:xfrm>
            <a:off x="4054709" y="3122357"/>
            <a:ext cx="1874462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27 miles off N. Carolina</a:t>
            </a:r>
          </a:p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41 miles off Virginia</a:t>
            </a:r>
          </a:p>
        </p:txBody>
      </p:sp>
      <p:sp>
        <p:nvSpPr>
          <p:cNvPr id="20" name="Text Placeholder 138">
            <a:extLst>
              <a:ext uri="{FF2B5EF4-FFF2-40B4-BE49-F238E27FC236}">
                <a16:creationId xmlns:a16="http://schemas.microsoft.com/office/drawing/2014/main" id="{00740D91-A27E-4E14-A6B6-F97DDB55F0B5}"/>
              </a:ext>
            </a:extLst>
          </p:cNvPr>
          <p:cNvSpPr>
            <a:spLocks noGrp="1"/>
          </p:cNvSpPr>
          <p:nvPr/>
        </p:nvSpPr>
        <p:spPr>
          <a:xfrm>
            <a:off x="4171523" y="3569720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ext Placeholder 145">
            <a:extLst>
              <a:ext uri="{FF2B5EF4-FFF2-40B4-BE49-F238E27FC236}">
                <a16:creationId xmlns:a16="http://schemas.microsoft.com/office/drawing/2014/main" id="{9A149C98-9318-4D5D-9EDC-8629A25AAEA8}"/>
              </a:ext>
            </a:extLst>
          </p:cNvPr>
          <p:cNvSpPr>
            <a:spLocks noGrp="1"/>
          </p:cNvSpPr>
          <p:nvPr/>
        </p:nvSpPr>
        <p:spPr>
          <a:xfrm>
            <a:off x="4171523" y="3555148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6F6F0271-9850-4C8B-8E12-576570447F43}"/>
              </a:ext>
            </a:extLst>
          </p:cNvPr>
          <p:cNvSpPr>
            <a:spLocks noGrp="1"/>
          </p:cNvSpPr>
          <p:nvPr/>
        </p:nvSpPr>
        <p:spPr>
          <a:xfrm>
            <a:off x="1641282" y="3234302"/>
            <a:ext cx="1681805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35 meters average</a:t>
            </a:r>
          </a:p>
        </p:txBody>
      </p:sp>
      <p:sp>
        <p:nvSpPr>
          <p:cNvPr id="23" name="Text Placeholder 146">
            <a:extLst>
              <a:ext uri="{FF2B5EF4-FFF2-40B4-BE49-F238E27FC236}">
                <a16:creationId xmlns:a16="http://schemas.microsoft.com/office/drawing/2014/main" id="{4A796C64-E0BE-493D-BC7E-0D26D0FB9890}"/>
              </a:ext>
            </a:extLst>
          </p:cNvPr>
          <p:cNvSpPr>
            <a:spLocks noGrp="1"/>
          </p:cNvSpPr>
          <p:nvPr/>
        </p:nvSpPr>
        <p:spPr>
          <a:xfrm>
            <a:off x="1758096" y="3509653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ext Placeholder 147">
            <a:extLst>
              <a:ext uri="{FF2B5EF4-FFF2-40B4-BE49-F238E27FC236}">
                <a16:creationId xmlns:a16="http://schemas.microsoft.com/office/drawing/2014/main" id="{24073659-67DD-4035-B968-C73CD3693F15}"/>
              </a:ext>
            </a:extLst>
          </p:cNvPr>
          <p:cNvSpPr>
            <a:spLocks noGrp="1"/>
          </p:cNvSpPr>
          <p:nvPr/>
        </p:nvSpPr>
        <p:spPr>
          <a:xfrm>
            <a:off x="1758096" y="3495081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ext Placeholder 172">
            <a:extLst>
              <a:ext uri="{FF2B5EF4-FFF2-40B4-BE49-F238E27FC236}">
                <a16:creationId xmlns:a16="http://schemas.microsoft.com/office/drawing/2014/main" id="{3B278B1D-075C-44AF-A2A6-3D4D7922C11A}"/>
              </a:ext>
            </a:extLst>
          </p:cNvPr>
          <p:cNvSpPr>
            <a:spLocks noGrp="1"/>
          </p:cNvSpPr>
          <p:nvPr/>
        </p:nvSpPr>
        <p:spPr>
          <a:xfrm>
            <a:off x="1644358" y="3005190"/>
            <a:ext cx="1692675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Water Depth</a:t>
            </a:r>
          </a:p>
        </p:txBody>
      </p:sp>
      <p:sp>
        <p:nvSpPr>
          <p:cNvPr id="26" name="Text Placeholder 174">
            <a:extLst>
              <a:ext uri="{FF2B5EF4-FFF2-40B4-BE49-F238E27FC236}">
                <a16:creationId xmlns:a16="http://schemas.microsoft.com/office/drawing/2014/main" id="{6BEB555E-6E95-45C9-970D-5621E5BA6F24}"/>
              </a:ext>
            </a:extLst>
          </p:cNvPr>
          <p:cNvSpPr>
            <a:spLocks noGrp="1"/>
          </p:cNvSpPr>
          <p:nvPr/>
        </p:nvSpPr>
        <p:spPr>
          <a:xfrm>
            <a:off x="4057785" y="2893245"/>
            <a:ext cx="1692675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DISTANCE TO SHOR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F32844CB-2E94-4A81-9C1B-E546DC338C76}"/>
              </a:ext>
            </a:extLst>
          </p:cNvPr>
          <p:cNvSpPr>
            <a:spLocks noGrp="1"/>
          </p:cNvSpPr>
          <p:nvPr/>
        </p:nvSpPr>
        <p:spPr>
          <a:xfrm>
            <a:off x="1632193" y="4074292"/>
            <a:ext cx="1788246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$9 million</a:t>
            </a:r>
          </a:p>
        </p:txBody>
      </p:sp>
      <p:sp>
        <p:nvSpPr>
          <p:cNvPr id="28" name="Text Placeholder 138">
            <a:extLst>
              <a:ext uri="{FF2B5EF4-FFF2-40B4-BE49-F238E27FC236}">
                <a16:creationId xmlns:a16="http://schemas.microsoft.com/office/drawing/2014/main" id="{BE01F986-8CFE-4390-AAA3-3C0D88E698BA}"/>
              </a:ext>
            </a:extLst>
          </p:cNvPr>
          <p:cNvSpPr>
            <a:spLocks noGrp="1"/>
          </p:cNvSpPr>
          <p:nvPr/>
        </p:nvSpPr>
        <p:spPr>
          <a:xfrm>
            <a:off x="1749007" y="4349648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 Placeholder 145">
            <a:extLst>
              <a:ext uri="{FF2B5EF4-FFF2-40B4-BE49-F238E27FC236}">
                <a16:creationId xmlns:a16="http://schemas.microsoft.com/office/drawing/2014/main" id="{0437AA93-B0D8-4A11-8A51-BE1C2F31388E}"/>
              </a:ext>
            </a:extLst>
          </p:cNvPr>
          <p:cNvSpPr>
            <a:spLocks noGrp="1"/>
          </p:cNvSpPr>
          <p:nvPr/>
        </p:nvSpPr>
        <p:spPr>
          <a:xfrm>
            <a:off x="1749007" y="4335076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F05EEE25-D1C1-459A-AF80-C16595834516}"/>
              </a:ext>
            </a:extLst>
          </p:cNvPr>
          <p:cNvSpPr>
            <a:spLocks noGrp="1"/>
          </p:cNvSpPr>
          <p:nvPr/>
        </p:nvSpPr>
        <p:spPr>
          <a:xfrm>
            <a:off x="4054709" y="4033136"/>
            <a:ext cx="1818586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Havelock, New Bern,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Greenville</a:t>
            </a:r>
          </a:p>
        </p:txBody>
      </p:sp>
      <p:sp>
        <p:nvSpPr>
          <p:cNvPr id="31" name="Text Placeholder 146">
            <a:extLst>
              <a:ext uri="{FF2B5EF4-FFF2-40B4-BE49-F238E27FC236}">
                <a16:creationId xmlns:a16="http://schemas.microsoft.com/office/drawing/2014/main" id="{C0DDF001-7135-400F-ACC2-3CC2EA5FD145}"/>
              </a:ext>
            </a:extLst>
          </p:cNvPr>
          <p:cNvSpPr>
            <a:spLocks noGrp="1"/>
          </p:cNvSpPr>
          <p:nvPr/>
        </p:nvSpPr>
        <p:spPr>
          <a:xfrm>
            <a:off x="4171523" y="4480499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ext Placeholder 147">
            <a:extLst>
              <a:ext uri="{FF2B5EF4-FFF2-40B4-BE49-F238E27FC236}">
                <a16:creationId xmlns:a16="http://schemas.microsoft.com/office/drawing/2014/main" id="{B4CFBAAB-8CCF-4AB8-9083-99D63994411C}"/>
              </a:ext>
            </a:extLst>
          </p:cNvPr>
          <p:cNvSpPr>
            <a:spLocks noGrp="1"/>
          </p:cNvSpPr>
          <p:nvPr/>
        </p:nvSpPr>
        <p:spPr>
          <a:xfrm>
            <a:off x="4171523" y="4465927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ext Placeholder 172">
            <a:extLst>
              <a:ext uri="{FF2B5EF4-FFF2-40B4-BE49-F238E27FC236}">
                <a16:creationId xmlns:a16="http://schemas.microsoft.com/office/drawing/2014/main" id="{00E803B4-CB66-4D78-A442-6F145CD3A3F9}"/>
              </a:ext>
            </a:extLst>
          </p:cNvPr>
          <p:cNvSpPr>
            <a:spLocks noGrp="1"/>
          </p:cNvSpPr>
          <p:nvPr/>
        </p:nvSpPr>
        <p:spPr>
          <a:xfrm>
            <a:off x="4057785" y="3804024"/>
            <a:ext cx="1678730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POINTS OF INTERCONNECTION</a:t>
            </a:r>
          </a:p>
        </p:txBody>
      </p:sp>
      <p:sp>
        <p:nvSpPr>
          <p:cNvPr id="35" name="Text Placeholder 174">
            <a:extLst>
              <a:ext uri="{FF2B5EF4-FFF2-40B4-BE49-F238E27FC236}">
                <a16:creationId xmlns:a16="http://schemas.microsoft.com/office/drawing/2014/main" id="{34C8FA54-1C66-497A-A8E0-7B7AC3C7A4E0}"/>
              </a:ext>
            </a:extLst>
          </p:cNvPr>
          <p:cNvSpPr>
            <a:spLocks noGrp="1"/>
          </p:cNvSpPr>
          <p:nvPr/>
        </p:nvSpPr>
        <p:spPr>
          <a:xfrm>
            <a:off x="1636062" y="3863847"/>
            <a:ext cx="1876516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Lease Price</a:t>
            </a:r>
          </a:p>
        </p:txBody>
      </p:sp>
      <p:sp>
        <p:nvSpPr>
          <p:cNvPr id="36" name="Text Placeholder 174">
            <a:extLst>
              <a:ext uri="{FF2B5EF4-FFF2-40B4-BE49-F238E27FC236}">
                <a16:creationId xmlns:a16="http://schemas.microsoft.com/office/drawing/2014/main" id="{C7D54D6C-D6CF-438E-8FBA-7F658A0A9ECE}"/>
              </a:ext>
            </a:extLst>
          </p:cNvPr>
          <p:cNvSpPr>
            <a:spLocks noGrp="1"/>
          </p:cNvSpPr>
          <p:nvPr/>
        </p:nvSpPr>
        <p:spPr>
          <a:xfrm>
            <a:off x="4070333" y="4703079"/>
            <a:ext cx="1876516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PERMITTING STATU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955F197-767B-4E82-AB17-3C4B6C387F6A}"/>
              </a:ext>
            </a:extLst>
          </p:cNvPr>
          <p:cNvGrpSpPr/>
          <p:nvPr/>
        </p:nvGrpSpPr>
        <p:grpSpPr>
          <a:xfrm>
            <a:off x="1251608" y="2252345"/>
            <a:ext cx="342664" cy="342665"/>
            <a:chOff x="3773190" y="748090"/>
            <a:chExt cx="238506" cy="238506"/>
          </a:xfrm>
        </p:grpSpPr>
        <p:grpSp>
          <p:nvGrpSpPr>
            <p:cNvPr id="38" name="Gráfico 529">
              <a:extLst>
                <a:ext uri="{FF2B5EF4-FFF2-40B4-BE49-F238E27FC236}">
                  <a16:creationId xmlns:a16="http://schemas.microsoft.com/office/drawing/2014/main" id="{DAB3AA65-59AA-4C96-8F14-C2E3966691A2}"/>
                </a:ext>
              </a:extLst>
            </p:cNvPr>
            <p:cNvGrpSpPr/>
            <p:nvPr/>
          </p:nvGrpSpPr>
          <p:grpSpPr>
            <a:xfrm>
              <a:off x="3777425" y="893904"/>
              <a:ext cx="225392" cy="42053"/>
              <a:chOff x="4574782" y="1517570"/>
              <a:chExt cx="225392" cy="42053"/>
            </a:xfrm>
            <a:noFill/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B44F9C3B-042A-41D3-9A61-61800878D4AB}"/>
                  </a:ext>
                </a:extLst>
              </p:cNvPr>
              <p:cNvSpPr/>
              <p:nvPr/>
            </p:nvSpPr>
            <p:spPr>
              <a:xfrm>
                <a:off x="4574782" y="1521666"/>
                <a:ext cx="74916" cy="36004"/>
              </a:xfrm>
              <a:custGeom>
                <a:avLst/>
                <a:gdLst>
                  <a:gd name="connsiteX0" fmla="*/ 0 w 80200"/>
                  <a:gd name="connsiteY0" fmla="*/ 0 h 40100"/>
                  <a:gd name="connsiteX1" fmla="*/ 40100 w 80200"/>
                  <a:gd name="connsiteY1" fmla="*/ 40100 h 40100"/>
                  <a:gd name="connsiteX2" fmla="*/ 80201 w 80200"/>
                  <a:gd name="connsiteY2" fmla="*/ 0 h 4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00" h="40100">
                    <a:moveTo>
                      <a:pt x="0" y="0"/>
                    </a:moveTo>
                    <a:cubicBezTo>
                      <a:pt x="0" y="22147"/>
                      <a:pt x="17953" y="40100"/>
                      <a:pt x="40100" y="40100"/>
                    </a:cubicBezTo>
                    <a:cubicBezTo>
                      <a:pt x="62247" y="40100"/>
                      <a:pt x="80201" y="22147"/>
                      <a:pt x="80201" y="0"/>
                    </a:cubicBezTo>
                  </a:path>
                </a:pathLst>
              </a:custGeom>
              <a:noFill/>
              <a:ln w="9525" cap="sq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2775717C-509D-499B-BBBC-30EC62990DF3}"/>
                  </a:ext>
                </a:extLst>
              </p:cNvPr>
              <p:cNvSpPr/>
              <p:nvPr/>
            </p:nvSpPr>
            <p:spPr>
              <a:xfrm>
                <a:off x="4649699" y="1517570"/>
                <a:ext cx="80200" cy="40100"/>
              </a:xfrm>
              <a:custGeom>
                <a:avLst/>
                <a:gdLst>
                  <a:gd name="connsiteX0" fmla="*/ 0 w 80200"/>
                  <a:gd name="connsiteY0" fmla="*/ 0 h 40100"/>
                  <a:gd name="connsiteX1" fmla="*/ 40100 w 80200"/>
                  <a:gd name="connsiteY1" fmla="*/ 40100 h 40100"/>
                  <a:gd name="connsiteX2" fmla="*/ 80200 w 80200"/>
                  <a:gd name="connsiteY2" fmla="*/ 0 h 4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00" h="40100">
                    <a:moveTo>
                      <a:pt x="0" y="0"/>
                    </a:moveTo>
                    <a:cubicBezTo>
                      <a:pt x="0" y="22147"/>
                      <a:pt x="17954" y="40100"/>
                      <a:pt x="40100" y="40100"/>
                    </a:cubicBezTo>
                    <a:cubicBezTo>
                      <a:pt x="62247" y="40100"/>
                      <a:pt x="80200" y="22147"/>
                      <a:pt x="80200" y="0"/>
                    </a:cubicBezTo>
                  </a:path>
                </a:pathLst>
              </a:custGeom>
              <a:noFill/>
              <a:ln w="9525" cap="sq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404C32C-071A-47AB-BD38-65710DA901AB}"/>
                  </a:ext>
                </a:extLst>
              </p:cNvPr>
              <p:cNvSpPr/>
              <p:nvPr/>
            </p:nvSpPr>
            <p:spPr>
              <a:xfrm>
                <a:off x="4729851" y="1525274"/>
                <a:ext cx="70323" cy="34349"/>
              </a:xfrm>
              <a:custGeom>
                <a:avLst/>
                <a:gdLst>
                  <a:gd name="connsiteX0" fmla="*/ 49 w 80201"/>
                  <a:gd name="connsiteY0" fmla="*/ 0 h 42054"/>
                  <a:gd name="connsiteX1" fmla="*/ 38148 w 80201"/>
                  <a:gd name="connsiteY1" fmla="*/ 42006 h 42054"/>
                  <a:gd name="connsiteX2" fmla="*/ 80154 w 80201"/>
                  <a:gd name="connsiteY2" fmla="*/ 3907 h 42054"/>
                  <a:gd name="connsiteX3" fmla="*/ 80154 w 80201"/>
                  <a:gd name="connsiteY3" fmla="*/ 0 h 42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201" h="42054">
                    <a:moveTo>
                      <a:pt x="49" y="0"/>
                    </a:moveTo>
                    <a:cubicBezTo>
                      <a:pt x="-1031" y="22121"/>
                      <a:pt x="16027" y="40927"/>
                      <a:pt x="38148" y="42006"/>
                    </a:cubicBezTo>
                    <a:cubicBezTo>
                      <a:pt x="60267" y="43085"/>
                      <a:pt x="79075" y="26028"/>
                      <a:pt x="80154" y="3907"/>
                    </a:cubicBezTo>
                    <a:cubicBezTo>
                      <a:pt x="80218" y="2606"/>
                      <a:pt x="80218" y="1302"/>
                      <a:pt x="80154" y="0"/>
                    </a:cubicBezTo>
                  </a:path>
                </a:pathLst>
              </a:custGeom>
              <a:noFill/>
              <a:ln w="9525" cap="sq">
                <a:solidFill>
                  <a:schemeClr val="tx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422DD90-0BB7-4897-9662-0D374F3938C1}"/>
                </a:ext>
              </a:extLst>
            </p:cNvPr>
            <p:cNvSpPr/>
            <p:nvPr/>
          </p:nvSpPr>
          <p:spPr>
            <a:xfrm rot="18900000">
              <a:off x="3773190" y="748090"/>
              <a:ext cx="238506" cy="238506"/>
            </a:xfrm>
            <a:custGeom>
              <a:avLst/>
              <a:gdLst>
                <a:gd name="connsiteX0" fmla="*/ 238506 w 238506"/>
                <a:gd name="connsiteY0" fmla="*/ 119253 h 238506"/>
                <a:gd name="connsiteX1" fmla="*/ 119253 w 238506"/>
                <a:gd name="connsiteY1" fmla="*/ 238506 h 238506"/>
                <a:gd name="connsiteX2" fmla="*/ 0 w 238506"/>
                <a:gd name="connsiteY2" fmla="*/ 119253 h 238506"/>
                <a:gd name="connsiteX3" fmla="*/ 119253 w 238506"/>
                <a:gd name="connsiteY3" fmla="*/ 0 h 238506"/>
                <a:gd name="connsiteX4" fmla="*/ 238506 w 238506"/>
                <a:gd name="connsiteY4" fmla="*/ 119253 h 23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506" h="238506">
                  <a:moveTo>
                    <a:pt x="238506" y="119253"/>
                  </a:moveTo>
                  <a:cubicBezTo>
                    <a:pt x="238506" y="185115"/>
                    <a:pt x="185115" y="238506"/>
                    <a:pt x="119253" y="238506"/>
                  </a:cubicBezTo>
                  <a:cubicBezTo>
                    <a:pt x="53391" y="238506"/>
                    <a:pt x="0" y="185115"/>
                    <a:pt x="0" y="119253"/>
                  </a:cubicBezTo>
                  <a:cubicBezTo>
                    <a:pt x="0" y="53391"/>
                    <a:pt x="53391" y="0"/>
                    <a:pt x="119253" y="0"/>
                  </a:cubicBezTo>
                  <a:cubicBezTo>
                    <a:pt x="185115" y="0"/>
                    <a:pt x="238506" y="53391"/>
                    <a:pt x="238506" y="119253"/>
                  </a:cubicBezTo>
                  <a:close/>
                </a:path>
              </a:pathLst>
            </a:custGeom>
            <a:noFill/>
            <a:ln w="9525" cap="sq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1B768B5-AA23-4B6C-8A7A-4EC036A5033E}"/>
                </a:ext>
              </a:extLst>
            </p:cNvPr>
            <p:cNvSpPr/>
            <p:nvPr/>
          </p:nvSpPr>
          <p:spPr>
            <a:xfrm>
              <a:off x="3873941" y="800515"/>
              <a:ext cx="45155" cy="45155"/>
            </a:xfrm>
            <a:custGeom>
              <a:avLst/>
              <a:gdLst>
                <a:gd name="connsiteX0" fmla="*/ 33837 w 45155"/>
                <a:gd name="connsiteY0" fmla="*/ 42144 h 45155"/>
                <a:gd name="connsiteX1" fmla="*/ 3012 w 45155"/>
                <a:gd name="connsiteY1" fmla="*/ 33837 h 45155"/>
                <a:gd name="connsiteX2" fmla="*/ 11319 w 45155"/>
                <a:gd name="connsiteY2" fmla="*/ 3012 h 45155"/>
                <a:gd name="connsiteX3" fmla="*/ 42123 w 45155"/>
                <a:gd name="connsiteY3" fmla="*/ 11283 h 45155"/>
                <a:gd name="connsiteX4" fmla="*/ 33873 w 45155"/>
                <a:gd name="connsiteY4" fmla="*/ 42123 h 45155"/>
                <a:gd name="connsiteX5" fmla="*/ 33837 w 45155"/>
                <a:gd name="connsiteY5" fmla="*/ 42144 h 4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155" h="45155">
                  <a:moveTo>
                    <a:pt x="33837" y="42144"/>
                  </a:moveTo>
                  <a:cubicBezTo>
                    <a:pt x="23030" y="48362"/>
                    <a:pt x="9230" y="44643"/>
                    <a:pt x="3012" y="33837"/>
                  </a:cubicBezTo>
                  <a:cubicBezTo>
                    <a:pt x="-3206" y="23030"/>
                    <a:pt x="513" y="9230"/>
                    <a:pt x="11319" y="3012"/>
                  </a:cubicBezTo>
                  <a:cubicBezTo>
                    <a:pt x="22111" y="-3198"/>
                    <a:pt x="35894" y="503"/>
                    <a:pt x="42123" y="11283"/>
                  </a:cubicBezTo>
                  <a:cubicBezTo>
                    <a:pt x="48361" y="22078"/>
                    <a:pt x="44667" y="35885"/>
                    <a:pt x="33873" y="42123"/>
                  </a:cubicBezTo>
                  <a:cubicBezTo>
                    <a:pt x="33860" y="42130"/>
                    <a:pt x="33849" y="42138"/>
                    <a:pt x="33837" y="42144"/>
                  </a:cubicBezTo>
                  <a:close/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90C8677-B7FE-4C75-A749-BEF5708E1D4E}"/>
                </a:ext>
              </a:extLst>
            </p:cNvPr>
            <p:cNvSpPr/>
            <p:nvPr/>
          </p:nvSpPr>
          <p:spPr>
            <a:xfrm>
              <a:off x="3919208" y="825134"/>
              <a:ext cx="51625" cy="6477"/>
            </a:xfrm>
            <a:custGeom>
              <a:avLst/>
              <a:gdLst>
                <a:gd name="connsiteX0" fmla="*/ 51626 w 51625"/>
                <a:gd name="connsiteY0" fmla="*/ 6477 h 6477"/>
                <a:gd name="connsiteX1" fmla="*/ 0 w 51625"/>
                <a:gd name="connsiteY1" fmla="*/ 0 h 6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25" h="6477">
                  <a:moveTo>
                    <a:pt x="51626" y="6477"/>
                  </a:moveTo>
                  <a:lnTo>
                    <a:pt x="0" y="0"/>
                  </a:lnTo>
                </a:path>
              </a:pathLst>
            </a:custGeom>
            <a:ln w="9525" cap="sq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8242808-2C1C-4057-A05C-73CD59366392}"/>
                </a:ext>
              </a:extLst>
            </p:cNvPr>
            <p:cNvSpPr/>
            <p:nvPr/>
          </p:nvSpPr>
          <p:spPr>
            <a:xfrm>
              <a:off x="3842436" y="839421"/>
              <a:ext cx="37338" cy="36004"/>
            </a:xfrm>
            <a:custGeom>
              <a:avLst/>
              <a:gdLst>
                <a:gd name="connsiteX0" fmla="*/ 0 w 37338"/>
                <a:gd name="connsiteY0" fmla="*/ 36004 h 36004"/>
                <a:gd name="connsiteX1" fmla="*/ 37338 w 37338"/>
                <a:gd name="connsiteY1" fmla="*/ 0 h 3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38" h="36004">
                  <a:moveTo>
                    <a:pt x="0" y="36004"/>
                  </a:moveTo>
                  <a:lnTo>
                    <a:pt x="37338" y="0"/>
                  </a:lnTo>
                </a:path>
              </a:pathLst>
            </a:custGeom>
            <a:ln w="9525" cap="sq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5C6154D-5E03-44C7-A220-C1996F643C47}"/>
                </a:ext>
              </a:extLst>
            </p:cNvPr>
            <p:cNvSpPr/>
            <p:nvPr/>
          </p:nvSpPr>
          <p:spPr>
            <a:xfrm>
              <a:off x="3877107" y="749220"/>
              <a:ext cx="14382" cy="51244"/>
            </a:xfrm>
            <a:custGeom>
              <a:avLst/>
              <a:gdLst>
                <a:gd name="connsiteX0" fmla="*/ 0 w 14382"/>
                <a:gd name="connsiteY0" fmla="*/ 0 h 51244"/>
                <a:gd name="connsiteX1" fmla="*/ 14383 w 14382"/>
                <a:gd name="connsiteY1" fmla="*/ 51245 h 5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382" h="51244">
                  <a:moveTo>
                    <a:pt x="0" y="0"/>
                  </a:moveTo>
                  <a:lnTo>
                    <a:pt x="14383" y="51245"/>
                  </a:lnTo>
                </a:path>
              </a:pathLst>
            </a:custGeom>
            <a:ln w="9525" cap="rnd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ADFE657-255F-496F-9C28-7F022DC36769}"/>
                </a:ext>
              </a:extLst>
            </p:cNvPr>
            <p:cNvSpPr/>
            <p:nvPr/>
          </p:nvSpPr>
          <p:spPr>
            <a:xfrm>
              <a:off x="3896443" y="845708"/>
              <a:ext cx="9525" cy="88296"/>
            </a:xfrm>
            <a:custGeom>
              <a:avLst/>
              <a:gdLst>
                <a:gd name="connsiteX0" fmla="*/ 0 w 9525"/>
                <a:gd name="connsiteY0" fmla="*/ 0 h 88296"/>
                <a:gd name="connsiteX1" fmla="*/ 0 w 9525"/>
                <a:gd name="connsiteY1" fmla="*/ 88297 h 8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88296">
                  <a:moveTo>
                    <a:pt x="0" y="0"/>
                  </a:moveTo>
                  <a:lnTo>
                    <a:pt x="0" y="88297"/>
                  </a:lnTo>
                </a:path>
              </a:pathLst>
            </a:custGeom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88463C2-6F0A-4296-98DC-7BBD33366B2F}"/>
              </a:ext>
            </a:extLst>
          </p:cNvPr>
          <p:cNvGrpSpPr/>
          <p:nvPr/>
        </p:nvGrpSpPr>
        <p:grpSpPr>
          <a:xfrm>
            <a:off x="1256991" y="3040841"/>
            <a:ext cx="347472" cy="347472"/>
            <a:chOff x="8971898" y="6112423"/>
            <a:chExt cx="239292" cy="239292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9F47D49-6919-4F94-98FA-C64423ECB6E2}"/>
                </a:ext>
              </a:extLst>
            </p:cNvPr>
            <p:cNvSpPr/>
            <p:nvPr/>
          </p:nvSpPr>
          <p:spPr>
            <a:xfrm rot="19683315">
              <a:off x="8971898" y="6112423"/>
              <a:ext cx="239292" cy="239292"/>
            </a:xfrm>
            <a:custGeom>
              <a:avLst/>
              <a:gdLst>
                <a:gd name="connsiteX0" fmla="*/ 239293 w 239292"/>
                <a:gd name="connsiteY0" fmla="*/ 119646 h 239292"/>
                <a:gd name="connsiteX1" fmla="*/ 119646 w 239292"/>
                <a:gd name="connsiteY1" fmla="*/ 239293 h 239292"/>
                <a:gd name="connsiteX2" fmla="*/ 0 w 239292"/>
                <a:gd name="connsiteY2" fmla="*/ 119646 h 239292"/>
                <a:gd name="connsiteX3" fmla="*/ 119646 w 239292"/>
                <a:gd name="connsiteY3" fmla="*/ 0 h 239292"/>
                <a:gd name="connsiteX4" fmla="*/ 239293 w 239292"/>
                <a:gd name="connsiteY4" fmla="*/ 119646 h 2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292" h="239292">
                  <a:moveTo>
                    <a:pt x="239293" y="119646"/>
                  </a:moveTo>
                  <a:cubicBezTo>
                    <a:pt x="239293" y="185725"/>
                    <a:pt x="185725" y="239293"/>
                    <a:pt x="119646" y="239293"/>
                  </a:cubicBezTo>
                  <a:cubicBezTo>
                    <a:pt x="53568" y="239293"/>
                    <a:pt x="0" y="185725"/>
                    <a:pt x="0" y="119646"/>
                  </a:cubicBezTo>
                  <a:cubicBezTo>
                    <a:pt x="0" y="53567"/>
                    <a:pt x="53568" y="0"/>
                    <a:pt x="119646" y="0"/>
                  </a:cubicBezTo>
                  <a:cubicBezTo>
                    <a:pt x="185725" y="0"/>
                    <a:pt x="239293" y="53567"/>
                    <a:pt x="239293" y="119646"/>
                  </a:cubicBezTo>
                  <a:close/>
                </a:path>
              </a:pathLst>
            </a:custGeom>
            <a:noFill/>
            <a:ln w="9525" cap="sq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BA35D92-7640-432E-B68A-50737300C7F6}"/>
                </a:ext>
              </a:extLst>
            </p:cNvPr>
            <p:cNvSpPr/>
            <p:nvPr/>
          </p:nvSpPr>
          <p:spPr>
            <a:xfrm>
              <a:off x="9032784" y="6151085"/>
              <a:ext cx="116395" cy="163637"/>
            </a:xfrm>
            <a:custGeom>
              <a:avLst/>
              <a:gdLst>
                <a:gd name="connsiteX0" fmla="*/ 116396 w 116395"/>
                <a:gd name="connsiteY0" fmla="*/ 58173 h 163637"/>
                <a:gd name="connsiteX1" fmla="*/ 58173 w 116395"/>
                <a:gd name="connsiteY1" fmla="*/ 0 h 163637"/>
                <a:gd name="connsiteX2" fmla="*/ 0 w 116395"/>
                <a:gd name="connsiteY2" fmla="*/ 58222 h 163637"/>
                <a:gd name="connsiteX3" fmla="*/ 7811 w 116395"/>
                <a:gd name="connsiteY3" fmla="*/ 87320 h 163637"/>
                <a:gd name="connsiteX4" fmla="*/ 7811 w 116395"/>
                <a:gd name="connsiteY4" fmla="*/ 87320 h 163637"/>
                <a:gd name="connsiteX5" fmla="*/ 48673 w 116395"/>
                <a:gd name="connsiteY5" fmla="*/ 158091 h 163637"/>
                <a:gd name="connsiteX6" fmla="*/ 63607 w 116395"/>
                <a:gd name="connsiteY6" fmla="*/ 162206 h 163637"/>
                <a:gd name="connsiteX7" fmla="*/ 67723 w 116395"/>
                <a:gd name="connsiteY7" fmla="*/ 158091 h 163637"/>
                <a:gd name="connsiteX8" fmla="*/ 108585 w 116395"/>
                <a:gd name="connsiteY8" fmla="*/ 87320 h 163637"/>
                <a:gd name="connsiteX9" fmla="*/ 108585 w 116395"/>
                <a:gd name="connsiteY9" fmla="*/ 87320 h 163637"/>
                <a:gd name="connsiteX10" fmla="*/ 116396 w 116395"/>
                <a:gd name="connsiteY10" fmla="*/ 58173 h 163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6395" h="163637">
                  <a:moveTo>
                    <a:pt x="116396" y="58173"/>
                  </a:moveTo>
                  <a:cubicBezTo>
                    <a:pt x="116382" y="26031"/>
                    <a:pt x="90315" y="-13"/>
                    <a:pt x="58173" y="0"/>
                  </a:cubicBezTo>
                  <a:cubicBezTo>
                    <a:pt x="26032" y="13"/>
                    <a:pt x="-13" y="26080"/>
                    <a:pt x="0" y="58222"/>
                  </a:cubicBezTo>
                  <a:cubicBezTo>
                    <a:pt x="4" y="68439"/>
                    <a:pt x="2698" y="78474"/>
                    <a:pt x="7811" y="87320"/>
                  </a:cubicBezTo>
                  <a:lnTo>
                    <a:pt x="7811" y="87320"/>
                  </a:lnTo>
                  <a:lnTo>
                    <a:pt x="48673" y="158091"/>
                  </a:lnTo>
                  <a:cubicBezTo>
                    <a:pt x="51660" y="163351"/>
                    <a:pt x="58346" y="165194"/>
                    <a:pt x="63607" y="162206"/>
                  </a:cubicBezTo>
                  <a:cubicBezTo>
                    <a:pt x="65325" y="161231"/>
                    <a:pt x="66747" y="159809"/>
                    <a:pt x="67723" y="158091"/>
                  </a:cubicBezTo>
                  <a:lnTo>
                    <a:pt x="108585" y="87320"/>
                  </a:lnTo>
                  <a:lnTo>
                    <a:pt x="108585" y="87320"/>
                  </a:lnTo>
                  <a:cubicBezTo>
                    <a:pt x="113718" y="78466"/>
                    <a:pt x="116414" y="68408"/>
                    <a:pt x="116396" y="58173"/>
                  </a:cubicBez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31149D3-4760-40F1-B3A9-62993AEC8DF6}"/>
                </a:ext>
              </a:extLst>
            </p:cNvPr>
            <p:cNvSpPr/>
            <p:nvPr/>
          </p:nvSpPr>
          <p:spPr>
            <a:xfrm>
              <a:off x="9062216" y="6180683"/>
              <a:ext cx="57149" cy="57150"/>
            </a:xfrm>
            <a:custGeom>
              <a:avLst/>
              <a:gdLst>
                <a:gd name="connsiteX0" fmla="*/ 57150 w 57149"/>
                <a:gd name="connsiteY0" fmla="*/ 28575 h 57150"/>
                <a:gd name="connsiteX1" fmla="*/ 28575 w 57149"/>
                <a:gd name="connsiteY1" fmla="*/ 57150 h 57150"/>
                <a:gd name="connsiteX2" fmla="*/ 0 w 57149"/>
                <a:gd name="connsiteY2" fmla="*/ 28575 h 57150"/>
                <a:gd name="connsiteX3" fmla="*/ 28575 w 57149"/>
                <a:gd name="connsiteY3" fmla="*/ 0 h 57150"/>
                <a:gd name="connsiteX4" fmla="*/ 57150 w 57149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49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FA4A158-EC4B-4626-A63A-61A5DFBCF436}"/>
              </a:ext>
            </a:extLst>
          </p:cNvPr>
          <p:cNvGrpSpPr/>
          <p:nvPr/>
        </p:nvGrpSpPr>
        <p:grpSpPr>
          <a:xfrm>
            <a:off x="3661043" y="3991331"/>
            <a:ext cx="347472" cy="347472"/>
            <a:chOff x="945709" y="2234295"/>
            <a:chExt cx="317958" cy="317958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DF6AD9F-FA40-4B9B-AC2D-5B2CA337D4A7}"/>
                </a:ext>
              </a:extLst>
            </p:cNvPr>
            <p:cNvSpPr/>
            <p:nvPr/>
          </p:nvSpPr>
          <p:spPr>
            <a:xfrm rot="19696800">
              <a:off x="945709" y="2234295"/>
              <a:ext cx="317958" cy="317958"/>
            </a:xfrm>
            <a:custGeom>
              <a:avLst/>
              <a:gdLst>
                <a:gd name="connsiteX0" fmla="*/ 289054 w 289053"/>
                <a:gd name="connsiteY0" fmla="*/ 144527 h 289053"/>
                <a:gd name="connsiteX1" fmla="*/ 144527 w 289053"/>
                <a:gd name="connsiteY1" fmla="*/ 289053 h 289053"/>
                <a:gd name="connsiteX2" fmla="*/ 0 w 289053"/>
                <a:gd name="connsiteY2" fmla="*/ 144527 h 289053"/>
                <a:gd name="connsiteX3" fmla="*/ 144527 w 289053"/>
                <a:gd name="connsiteY3" fmla="*/ 0 h 289053"/>
                <a:gd name="connsiteX4" fmla="*/ 289054 w 289053"/>
                <a:gd name="connsiteY4" fmla="*/ 144527 h 28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053" h="289053">
                  <a:moveTo>
                    <a:pt x="289054" y="144527"/>
                  </a:moveTo>
                  <a:cubicBezTo>
                    <a:pt x="289054" y="224347"/>
                    <a:pt x="224347" y="289053"/>
                    <a:pt x="144527" y="289053"/>
                  </a:cubicBezTo>
                  <a:cubicBezTo>
                    <a:pt x="64707" y="289053"/>
                    <a:pt x="0" y="224347"/>
                    <a:pt x="0" y="144527"/>
                  </a:cubicBezTo>
                  <a:cubicBezTo>
                    <a:pt x="0" y="64707"/>
                    <a:pt x="64707" y="0"/>
                    <a:pt x="144527" y="0"/>
                  </a:cubicBezTo>
                  <a:cubicBezTo>
                    <a:pt x="224347" y="0"/>
                    <a:pt x="289054" y="64707"/>
                    <a:pt x="289054" y="144527"/>
                  </a:cubicBezTo>
                  <a:close/>
                </a:path>
              </a:pathLst>
            </a:custGeom>
            <a:noFill/>
            <a:ln w="9525" cap="sq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4FEC0E6-16F7-48B2-9765-4485DE4C6FC6}"/>
                </a:ext>
              </a:extLst>
            </p:cNvPr>
            <p:cNvSpPr/>
            <p:nvPr/>
          </p:nvSpPr>
          <p:spPr>
            <a:xfrm>
              <a:off x="972660" y="2274960"/>
              <a:ext cx="227635" cy="234284"/>
            </a:xfrm>
            <a:custGeom>
              <a:avLst/>
              <a:gdLst>
                <a:gd name="connsiteX0" fmla="*/ 57229 w 206941"/>
                <a:gd name="connsiteY0" fmla="*/ 101998 h 212986"/>
                <a:gd name="connsiteX1" fmla="*/ 46395 w 206941"/>
                <a:gd name="connsiteY1" fmla="*/ 148099 h 212986"/>
                <a:gd name="connsiteX2" fmla="*/ 83161 w 206941"/>
                <a:gd name="connsiteY2" fmla="*/ 139571 h 212986"/>
                <a:gd name="connsiteX3" fmla="*/ 56307 w 206941"/>
                <a:gd name="connsiteY3" fmla="*/ 70419 h 212986"/>
                <a:gd name="connsiteX4" fmla="*/ 55615 w 206941"/>
                <a:gd name="connsiteY4" fmla="*/ 70419 h 212986"/>
                <a:gd name="connsiteX5" fmla="*/ 55039 w 206941"/>
                <a:gd name="connsiteY5" fmla="*/ 70419 h 212986"/>
                <a:gd name="connsiteX6" fmla="*/ 35676 w 206941"/>
                <a:gd name="connsiteY6" fmla="*/ 93470 h 212986"/>
                <a:gd name="connsiteX7" fmla="*/ 32104 w 206941"/>
                <a:gd name="connsiteY7" fmla="*/ 96697 h 212986"/>
                <a:gd name="connsiteX8" fmla="*/ 28185 w 206941"/>
                <a:gd name="connsiteY8" fmla="*/ 100270 h 212986"/>
                <a:gd name="connsiteX9" fmla="*/ 11128 w 206941"/>
                <a:gd name="connsiteY9" fmla="*/ 123320 h 212986"/>
                <a:gd name="connsiteX10" fmla="*/ 37520 w 206941"/>
                <a:gd name="connsiteY10" fmla="*/ 146947 h 212986"/>
                <a:gd name="connsiteX11" fmla="*/ 49046 w 206941"/>
                <a:gd name="connsiteY11" fmla="*/ 98195 h 212986"/>
                <a:gd name="connsiteX12" fmla="*/ 55039 w 206941"/>
                <a:gd name="connsiteY12" fmla="*/ 96351 h 212986"/>
                <a:gd name="connsiteX13" fmla="*/ 57338 w 206941"/>
                <a:gd name="connsiteY13" fmla="*/ 101750 h 212986"/>
                <a:gd name="connsiteX14" fmla="*/ 57229 w 206941"/>
                <a:gd name="connsiteY14" fmla="*/ 101998 h 212986"/>
                <a:gd name="connsiteX15" fmla="*/ 181817 w 206941"/>
                <a:gd name="connsiteY15" fmla="*/ 37918 h 212986"/>
                <a:gd name="connsiteX16" fmla="*/ 114394 w 206941"/>
                <a:gd name="connsiteY16" fmla="*/ 37918 h 212986"/>
                <a:gd name="connsiteX17" fmla="*/ 113702 w 206941"/>
                <a:gd name="connsiteY17" fmla="*/ 38610 h 212986"/>
                <a:gd name="connsiteX18" fmla="*/ 113702 w 206941"/>
                <a:gd name="connsiteY18" fmla="*/ 53131 h 212986"/>
                <a:gd name="connsiteX19" fmla="*/ 155885 w 206941"/>
                <a:gd name="connsiteY19" fmla="*/ 92663 h 212986"/>
                <a:gd name="connsiteX20" fmla="*/ 198067 w 206941"/>
                <a:gd name="connsiteY20" fmla="*/ 53131 h 212986"/>
                <a:gd name="connsiteX21" fmla="*/ 198067 w 206941"/>
                <a:gd name="connsiteY21" fmla="*/ 38610 h 212986"/>
                <a:gd name="connsiteX22" fmla="*/ 197385 w 206941"/>
                <a:gd name="connsiteY22" fmla="*/ 37909 h 212986"/>
                <a:gd name="connsiteX23" fmla="*/ 197261 w 206941"/>
                <a:gd name="connsiteY23" fmla="*/ 37918 h 212986"/>
                <a:gd name="connsiteX24" fmla="*/ 125458 w 206941"/>
                <a:gd name="connsiteY24" fmla="*/ 4495 h 212986"/>
                <a:gd name="connsiteX25" fmla="*/ 125458 w 206941"/>
                <a:gd name="connsiteY25" fmla="*/ 29505 h 212986"/>
                <a:gd name="connsiteX26" fmla="*/ 113933 w 206941"/>
                <a:gd name="connsiteY26" fmla="*/ 29505 h 212986"/>
                <a:gd name="connsiteX27" fmla="*/ 104367 w 206941"/>
                <a:gd name="connsiteY27" fmla="*/ 38604 h 212986"/>
                <a:gd name="connsiteX28" fmla="*/ 104367 w 206941"/>
                <a:gd name="connsiteY28" fmla="*/ 38610 h 212986"/>
                <a:gd name="connsiteX29" fmla="*/ 104367 w 206941"/>
                <a:gd name="connsiteY29" fmla="*/ 53131 h 212986"/>
                <a:gd name="connsiteX30" fmla="*/ 150468 w 206941"/>
                <a:gd name="connsiteY30" fmla="*/ 100846 h 212986"/>
                <a:gd name="connsiteX31" fmla="*/ 150468 w 206941"/>
                <a:gd name="connsiteY31" fmla="*/ 160086 h 212986"/>
                <a:gd name="connsiteX32" fmla="*/ 97913 w 206941"/>
                <a:gd name="connsiteY32" fmla="*/ 204458 h 212986"/>
                <a:gd name="connsiteX33" fmla="*/ 59764 w 206941"/>
                <a:gd name="connsiteY33" fmla="*/ 187631 h 212986"/>
                <a:gd name="connsiteX34" fmla="*/ 45819 w 206941"/>
                <a:gd name="connsiteY34" fmla="*/ 158703 h 212986"/>
                <a:gd name="connsiteX35" fmla="*/ 90882 w 206941"/>
                <a:gd name="connsiteY35" fmla="*/ 141415 h 212986"/>
                <a:gd name="connsiteX36" fmla="*/ 61378 w 206941"/>
                <a:gd name="connsiteY36" fmla="*/ 64080 h 212986"/>
                <a:gd name="connsiteX37" fmla="*/ 53310 w 206941"/>
                <a:gd name="connsiteY37" fmla="*/ 61660 h 212986"/>
                <a:gd name="connsiteX38" fmla="*/ 46395 w 206941"/>
                <a:gd name="connsiteY38" fmla="*/ 66385 h 212986"/>
                <a:gd name="connsiteX39" fmla="*/ 28531 w 206941"/>
                <a:gd name="connsiteY39" fmla="*/ 86900 h 212986"/>
                <a:gd name="connsiteX40" fmla="*/ 25073 w 206941"/>
                <a:gd name="connsiteY40" fmla="*/ 90012 h 212986"/>
                <a:gd name="connsiteX41" fmla="*/ 25073 w 206941"/>
                <a:gd name="connsiteY41" fmla="*/ 90012 h 212986"/>
                <a:gd name="connsiteX42" fmla="*/ 21039 w 206941"/>
                <a:gd name="connsiteY42" fmla="*/ 93700 h 212986"/>
                <a:gd name="connsiteX43" fmla="*/ 1562 w 206941"/>
                <a:gd name="connsiteY43" fmla="*/ 121361 h 212986"/>
                <a:gd name="connsiteX44" fmla="*/ 36137 w 206941"/>
                <a:gd name="connsiteY44" fmla="*/ 155360 h 212986"/>
                <a:gd name="connsiteX45" fmla="*/ 52734 w 206941"/>
                <a:gd name="connsiteY45" fmla="*/ 193163 h 212986"/>
                <a:gd name="connsiteX46" fmla="*/ 98604 w 206941"/>
                <a:gd name="connsiteY46" fmla="*/ 212987 h 212986"/>
                <a:gd name="connsiteX47" fmla="*/ 160265 w 206941"/>
                <a:gd name="connsiteY47" fmla="*/ 160316 h 212986"/>
                <a:gd name="connsiteX48" fmla="*/ 160265 w 206941"/>
                <a:gd name="connsiteY48" fmla="*/ 100846 h 212986"/>
                <a:gd name="connsiteX49" fmla="*/ 206942 w 206941"/>
                <a:gd name="connsiteY49" fmla="*/ 53131 h 212986"/>
                <a:gd name="connsiteX50" fmla="*/ 206942 w 206941"/>
                <a:gd name="connsiteY50" fmla="*/ 38610 h 212986"/>
                <a:gd name="connsiteX51" fmla="*/ 197385 w 206941"/>
                <a:gd name="connsiteY51" fmla="*/ 29501 h 212986"/>
                <a:gd name="connsiteX52" fmla="*/ 197261 w 206941"/>
                <a:gd name="connsiteY52" fmla="*/ 29505 h 212986"/>
                <a:gd name="connsiteX53" fmla="*/ 185735 w 206941"/>
                <a:gd name="connsiteY53" fmla="*/ 29505 h 212986"/>
                <a:gd name="connsiteX54" fmla="*/ 185735 w 206941"/>
                <a:gd name="connsiteY54" fmla="*/ 4495 h 212986"/>
                <a:gd name="connsiteX55" fmla="*/ 180580 w 206941"/>
                <a:gd name="connsiteY55" fmla="*/ 775 h 212986"/>
                <a:gd name="connsiteX56" fmla="*/ 176861 w 206941"/>
                <a:gd name="connsiteY56" fmla="*/ 4495 h 212986"/>
                <a:gd name="connsiteX57" fmla="*/ 176861 w 206941"/>
                <a:gd name="connsiteY57" fmla="*/ 29505 h 212986"/>
                <a:gd name="connsiteX58" fmla="*/ 134448 w 206941"/>
                <a:gd name="connsiteY58" fmla="*/ 29505 h 212986"/>
                <a:gd name="connsiteX59" fmla="*/ 134448 w 206941"/>
                <a:gd name="connsiteY59" fmla="*/ 4495 h 212986"/>
                <a:gd name="connsiteX60" fmla="*/ 129953 w 206941"/>
                <a:gd name="connsiteY60" fmla="*/ 0 h 212986"/>
                <a:gd name="connsiteX61" fmla="*/ 125458 w 206941"/>
                <a:gd name="connsiteY61" fmla="*/ 4495 h 212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06941" h="212986">
                  <a:moveTo>
                    <a:pt x="57229" y="101998"/>
                  </a:moveTo>
                  <a:cubicBezTo>
                    <a:pt x="49604" y="116136"/>
                    <a:pt x="45866" y="132045"/>
                    <a:pt x="46395" y="148099"/>
                  </a:cubicBezTo>
                  <a:cubicBezTo>
                    <a:pt x="67140" y="164120"/>
                    <a:pt x="77859" y="159625"/>
                    <a:pt x="83161" y="139571"/>
                  </a:cubicBezTo>
                  <a:cubicBezTo>
                    <a:pt x="87771" y="121476"/>
                    <a:pt x="74632" y="86439"/>
                    <a:pt x="56307" y="70419"/>
                  </a:cubicBezTo>
                  <a:lnTo>
                    <a:pt x="55615" y="70419"/>
                  </a:lnTo>
                  <a:cubicBezTo>
                    <a:pt x="55436" y="70317"/>
                    <a:pt x="55217" y="70317"/>
                    <a:pt x="55039" y="70419"/>
                  </a:cubicBezTo>
                  <a:cubicBezTo>
                    <a:pt x="49891" y="79112"/>
                    <a:pt x="43350" y="86899"/>
                    <a:pt x="35676" y="93470"/>
                  </a:cubicBezTo>
                  <a:lnTo>
                    <a:pt x="32104" y="96697"/>
                  </a:lnTo>
                  <a:lnTo>
                    <a:pt x="28185" y="100270"/>
                  </a:lnTo>
                  <a:cubicBezTo>
                    <a:pt x="20243" y="105995"/>
                    <a:pt x="14282" y="114052"/>
                    <a:pt x="11128" y="123320"/>
                  </a:cubicBezTo>
                  <a:cubicBezTo>
                    <a:pt x="6287" y="142106"/>
                    <a:pt x="13778" y="151096"/>
                    <a:pt x="37520" y="146947"/>
                  </a:cubicBezTo>
                  <a:cubicBezTo>
                    <a:pt x="37145" y="129979"/>
                    <a:pt x="41112" y="113198"/>
                    <a:pt x="49046" y="98195"/>
                  </a:cubicBezTo>
                  <a:cubicBezTo>
                    <a:pt x="50254" y="96107"/>
                    <a:pt x="52866" y="95303"/>
                    <a:pt x="55039" y="96351"/>
                  </a:cubicBezTo>
                  <a:cubicBezTo>
                    <a:pt x="57164" y="97206"/>
                    <a:pt x="58194" y="99623"/>
                    <a:pt x="57338" y="101750"/>
                  </a:cubicBezTo>
                  <a:cubicBezTo>
                    <a:pt x="57305" y="101834"/>
                    <a:pt x="57268" y="101917"/>
                    <a:pt x="57229" y="101998"/>
                  </a:cubicBezTo>
                  <a:close/>
                  <a:moveTo>
                    <a:pt x="181817" y="37918"/>
                  </a:moveTo>
                  <a:lnTo>
                    <a:pt x="114394" y="37918"/>
                  </a:lnTo>
                  <a:cubicBezTo>
                    <a:pt x="114013" y="37918"/>
                    <a:pt x="113702" y="38228"/>
                    <a:pt x="113702" y="38610"/>
                  </a:cubicBezTo>
                  <a:lnTo>
                    <a:pt x="113702" y="53131"/>
                  </a:lnTo>
                  <a:cubicBezTo>
                    <a:pt x="114454" y="75687"/>
                    <a:pt x="133328" y="93375"/>
                    <a:pt x="155885" y="92663"/>
                  </a:cubicBezTo>
                  <a:cubicBezTo>
                    <a:pt x="178442" y="93375"/>
                    <a:pt x="197316" y="75687"/>
                    <a:pt x="198067" y="53131"/>
                  </a:cubicBezTo>
                  <a:lnTo>
                    <a:pt x="198067" y="38610"/>
                  </a:lnTo>
                  <a:cubicBezTo>
                    <a:pt x="198073" y="38228"/>
                    <a:pt x="197768" y="37914"/>
                    <a:pt x="197385" y="37909"/>
                  </a:cubicBezTo>
                  <a:cubicBezTo>
                    <a:pt x="197344" y="37908"/>
                    <a:pt x="197302" y="37911"/>
                    <a:pt x="197261" y="37918"/>
                  </a:cubicBezTo>
                  <a:close/>
                  <a:moveTo>
                    <a:pt x="125458" y="4495"/>
                  </a:moveTo>
                  <a:lnTo>
                    <a:pt x="125458" y="29505"/>
                  </a:lnTo>
                  <a:lnTo>
                    <a:pt x="113933" y="29505"/>
                  </a:lnTo>
                  <a:cubicBezTo>
                    <a:pt x="108779" y="29376"/>
                    <a:pt x="104496" y="33450"/>
                    <a:pt x="104367" y="38604"/>
                  </a:cubicBezTo>
                  <a:cubicBezTo>
                    <a:pt x="104367" y="38606"/>
                    <a:pt x="104367" y="38608"/>
                    <a:pt x="104367" y="38610"/>
                  </a:cubicBezTo>
                  <a:lnTo>
                    <a:pt x="104367" y="53131"/>
                  </a:lnTo>
                  <a:cubicBezTo>
                    <a:pt x="105091" y="78561"/>
                    <a:pt x="125078" y="99247"/>
                    <a:pt x="150468" y="100846"/>
                  </a:cubicBezTo>
                  <a:lnTo>
                    <a:pt x="150468" y="160086"/>
                  </a:lnTo>
                  <a:cubicBezTo>
                    <a:pt x="150468" y="187516"/>
                    <a:pt x="131106" y="204458"/>
                    <a:pt x="97913" y="204458"/>
                  </a:cubicBezTo>
                  <a:cubicBezTo>
                    <a:pt x="83519" y="203909"/>
                    <a:pt x="69875" y="197891"/>
                    <a:pt x="59764" y="187631"/>
                  </a:cubicBezTo>
                  <a:cubicBezTo>
                    <a:pt x="52098" y="179758"/>
                    <a:pt x="47202" y="169604"/>
                    <a:pt x="45819" y="158703"/>
                  </a:cubicBezTo>
                  <a:cubicBezTo>
                    <a:pt x="68869" y="173225"/>
                    <a:pt x="84659" y="165733"/>
                    <a:pt x="90882" y="141415"/>
                  </a:cubicBezTo>
                  <a:cubicBezTo>
                    <a:pt x="96299" y="120208"/>
                    <a:pt x="82008" y="82175"/>
                    <a:pt x="61378" y="64080"/>
                  </a:cubicBezTo>
                  <a:cubicBezTo>
                    <a:pt x="59166" y="62142"/>
                    <a:pt x="56223" y="61259"/>
                    <a:pt x="53310" y="61660"/>
                  </a:cubicBezTo>
                  <a:cubicBezTo>
                    <a:pt x="50395" y="62072"/>
                    <a:pt x="47838" y="63819"/>
                    <a:pt x="46395" y="66385"/>
                  </a:cubicBezTo>
                  <a:cubicBezTo>
                    <a:pt x="41562" y="74125"/>
                    <a:pt x="35532" y="81049"/>
                    <a:pt x="28531" y="86900"/>
                  </a:cubicBezTo>
                  <a:lnTo>
                    <a:pt x="25073" y="90012"/>
                  </a:lnTo>
                  <a:lnTo>
                    <a:pt x="25073" y="90012"/>
                  </a:lnTo>
                  <a:lnTo>
                    <a:pt x="21039" y="93700"/>
                  </a:lnTo>
                  <a:cubicBezTo>
                    <a:pt x="11772" y="100615"/>
                    <a:pt x="4949" y="110305"/>
                    <a:pt x="1562" y="121361"/>
                  </a:cubicBezTo>
                  <a:cubicBezTo>
                    <a:pt x="-4547" y="145449"/>
                    <a:pt x="7324" y="159855"/>
                    <a:pt x="36137" y="155360"/>
                  </a:cubicBezTo>
                  <a:cubicBezTo>
                    <a:pt x="36811" y="169579"/>
                    <a:pt x="42723" y="183044"/>
                    <a:pt x="52734" y="193163"/>
                  </a:cubicBezTo>
                  <a:cubicBezTo>
                    <a:pt x="64794" y="205587"/>
                    <a:pt x="81292" y="212717"/>
                    <a:pt x="98604" y="212987"/>
                  </a:cubicBezTo>
                  <a:cubicBezTo>
                    <a:pt x="136753" y="212987"/>
                    <a:pt x="160265" y="192472"/>
                    <a:pt x="160265" y="160316"/>
                  </a:cubicBezTo>
                  <a:lnTo>
                    <a:pt x="160265" y="100846"/>
                  </a:lnTo>
                  <a:cubicBezTo>
                    <a:pt x="185881" y="99536"/>
                    <a:pt x="206195" y="78770"/>
                    <a:pt x="206942" y="53131"/>
                  </a:cubicBezTo>
                  <a:lnTo>
                    <a:pt x="206942" y="38610"/>
                  </a:lnTo>
                  <a:cubicBezTo>
                    <a:pt x="206819" y="33455"/>
                    <a:pt x="202539" y="29377"/>
                    <a:pt x="197385" y="29501"/>
                  </a:cubicBezTo>
                  <a:cubicBezTo>
                    <a:pt x="197344" y="29502"/>
                    <a:pt x="197302" y="29503"/>
                    <a:pt x="197261" y="29505"/>
                  </a:cubicBezTo>
                  <a:lnTo>
                    <a:pt x="185735" y="29505"/>
                  </a:lnTo>
                  <a:lnTo>
                    <a:pt x="185735" y="4495"/>
                  </a:lnTo>
                  <a:cubicBezTo>
                    <a:pt x="185339" y="2044"/>
                    <a:pt x="183032" y="379"/>
                    <a:pt x="180580" y="775"/>
                  </a:cubicBezTo>
                  <a:cubicBezTo>
                    <a:pt x="178669" y="1084"/>
                    <a:pt x="177170" y="2583"/>
                    <a:pt x="176861" y="4495"/>
                  </a:cubicBezTo>
                  <a:lnTo>
                    <a:pt x="176861" y="29505"/>
                  </a:lnTo>
                  <a:lnTo>
                    <a:pt x="134448" y="29505"/>
                  </a:lnTo>
                  <a:lnTo>
                    <a:pt x="134448" y="4495"/>
                  </a:lnTo>
                  <a:cubicBezTo>
                    <a:pt x="134448" y="2012"/>
                    <a:pt x="132436" y="0"/>
                    <a:pt x="129953" y="0"/>
                  </a:cubicBezTo>
                  <a:cubicBezTo>
                    <a:pt x="127471" y="0"/>
                    <a:pt x="125458" y="2012"/>
                    <a:pt x="125458" y="4495"/>
                  </a:cubicBezTo>
                  <a:close/>
                </a:path>
              </a:pathLst>
            </a:custGeom>
            <a:solidFill>
              <a:srgbClr val="61A60E"/>
            </a:solidFill>
            <a:ln w="1125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558EE36-7093-4D9D-B904-9D6172ECA519}"/>
              </a:ext>
            </a:extLst>
          </p:cNvPr>
          <p:cNvGrpSpPr>
            <a:grpSpLocks noChangeAspect="1"/>
          </p:cNvGrpSpPr>
          <p:nvPr/>
        </p:nvGrpSpPr>
        <p:grpSpPr>
          <a:xfrm>
            <a:off x="3653218" y="3037416"/>
            <a:ext cx="347472" cy="356977"/>
            <a:chOff x="5328123" y="2736684"/>
            <a:chExt cx="317959" cy="326657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2770DA5-EBE0-4904-9DB7-55305B9E5FF2}"/>
                </a:ext>
              </a:extLst>
            </p:cNvPr>
            <p:cNvSpPr/>
            <p:nvPr/>
          </p:nvSpPr>
          <p:spPr>
            <a:xfrm>
              <a:off x="5439667" y="2783370"/>
              <a:ext cx="96388" cy="244153"/>
            </a:xfrm>
            <a:custGeom>
              <a:avLst/>
              <a:gdLst>
                <a:gd name="connsiteX0" fmla="*/ 37570 w 75358"/>
                <a:gd name="connsiteY0" fmla="*/ 5719 h 190884"/>
                <a:gd name="connsiteX1" fmla="*/ 38237 w 75358"/>
                <a:gd name="connsiteY1" fmla="*/ 5719 h 190884"/>
                <a:gd name="connsiteX2" fmla="*/ 69098 w 75358"/>
                <a:gd name="connsiteY2" fmla="*/ 45343 h 190884"/>
                <a:gd name="connsiteX3" fmla="*/ 48333 w 75358"/>
                <a:gd name="connsiteY3" fmla="*/ 45343 h 190884"/>
                <a:gd name="connsiteX4" fmla="*/ 48333 w 75358"/>
                <a:gd name="connsiteY4" fmla="*/ 185170 h 190884"/>
                <a:gd name="connsiteX5" fmla="*/ 25664 w 75358"/>
                <a:gd name="connsiteY5" fmla="*/ 185170 h 190884"/>
                <a:gd name="connsiteX6" fmla="*/ 25664 w 75358"/>
                <a:gd name="connsiteY6" fmla="*/ 45343 h 190884"/>
                <a:gd name="connsiteX7" fmla="*/ 6137 w 75358"/>
                <a:gd name="connsiteY7" fmla="*/ 45343 h 190884"/>
                <a:gd name="connsiteX8" fmla="*/ 36903 w 75358"/>
                <a:gd name="connsiteY8" fmla="*/ 5909 h 190884"/>
                <a:gd name="connsiteX9" fmla="*/ 37570 w 75358"/>
                <a:gd name="connsiteY9" fmla="*/ 5909 h 190884"/>
                <a:gd name="connsiteX10" fmla="*/ 37570 w 75358"/>
                <a:gd name="connsiteY10" fmla="*/ 194 h 190884"/>
                <a:gd name="connsiteX11" fmla="*/ 32426 w 75358"/>
                <a:gd name="connsiteY11" fmla="*/ 2575 h 190884"/>
                <a:gd name="connsiteX12" fmla="*/ 1089 w 75358"/>
                <a:gd name="connsiteY12" fmla="*/ 42771 h 190884"/>
                <a:gd name="connsiteX13" fmla="*/ 6328 w 75358"/>
                <a:gd name="connsiteY13" fmla="*/ 51248 h 190884"/>
                <a:gd name="connsiteX14" fmla="*/ 19949 w 75358"/>
                <a:gd name="connsiteY14" fmla="*/ 51248 h 190884"/>
                <a:gd name="connsiteX15" fmla="*/ 19949 w 75358"/>
                <a:gd name="connsiteY15" fmla="*/ 190885 h 190884"/>
                <a:gd name="connsiteX16" fmla="*/ 54048 w 75358"/>
                <a:gd name="connsiteY16" fmla="*/ 190885 h 190884"/>
                <a:gd name="connsiteX17" fmla="*/ 54048 w 75358"/>
                <a:gd name="connsiteY17" fmla="*/ 51058 h 190884"/>
                <a:gd name="connsiteX18" fmla="*/ 69098 w 75358"/>
                <a:gd name="connsiteY18" fmla="*/ 51058 h 190884"/>
                <a:gd name="connsiteX19" fmla="*/ 74241 w 75358"/>
                <a:gd name="connsiteY19" fmla="*/ 42580 h 190884"/>
                <a:gd name="connsiteX20" fmla="*/ 42809 w 75358"/>
                <a:gd name="connsiteY20" fmla="*/ 2385 h 190884"/>
                <a:gd name="connsiteX21" fmla="*/ 37570 w 75358"/>
                <a:gd name="connsiteY21" fmla="*/ 4 h 19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5358" h="190884">
                  <a:moveTo>
                    <a:pt x="37570" y="5719"/>
                  </a:moveTo>
                  <a:cubicBezTo>
                    <a:pt x="37570" y="5719"/>
                    <a:pt x="38237" y="5719"/>
                    <a:pt x="38237" y="5719"/>
                  </a:cubicBezTo>
                  <a:lnTo>
                    <a:pt x="69098" y="45343"/>
                  </a:lnTo>
                  <a:lnTo>
                    <a:pt x="48333" y="45343"/>
                  </a:lnTo>
                  <a:lnTo>
                    <a:pt x="48333" y="185170"/>
                  </a:lnTo>
                  <a:lnTo>
                    <a:pt x="25664" y="185170"/>
                  </a:lnTo>
                  <a:lnTo>
                    <a:pt x="25664" y="45343"/>
                  </a:lnTo>
                  <a:lnTo>
                    <a:pt x="6137" y="45343"/>
                  </a:lnTo>
                  <a:lnTo>
                    <a:pt x="36903" y="5909"/>
                  </a:lnTo>
                  <a:cubicBezTo>
                    <a:pt x="37118" y="5829"/>
                    <a:pt x="37355" y="5829"/>
                    <a:pt x="37570" y="5909"/>
                  </a:cubicBezTo>
                  <a:moveTo>
                    <a:pt x="37570" y="194"/>
                  </a:moveTo>
                  <a:cubicBezTo>
                    <a:pt x="35581" y="156"/>
                    <a:pt x="33684" y="1034"/>
                    <a:pt x="32426" y="2575"/>
                  </a:cubicBezTo>
                  <a:lnTo>
                    <a:pt x="1089" y="42771"/>
                  </a:lnTo>
                  <a:cubicBezTo>
                    <a:pt x="-1673" y="46390"/>
                    <a:pt x="1089" y="51248"/>
                    <a:pt x="6328" y="51248"/>
                  </a:cubicBezTo>
                  <a:lnTo>
                    <a:pt x="19949" y="51248"/>
                  </a:lnTo>
                  <a:lnTo>
                    <a:pt x="19949" y="190885"/>
                  </a:lnTo>
                  <a:lnTo>
                    <a:pt x="54048" y="190885"/>
                  </a:lnTo>
                  <a:lnTo>
                    <a:pt x="54048" y="51058"/>
                  </a:lnTo>
                  <a:lnTo>
                    <a:pt x="69098" y="51058"/>
                  </a:lnTo>
                  <a:cubicBezTo>
                    <a:pt x="74146" y="51058"/>
                    <a:pt x="77099" y="46200"/>
                    <a:pt x="74241" y="42580"/>
                  </a:cubicBezTo>
                  <a:lnTo>
                    <a:pt x="42809" y="2385"/>
                  </a:lnTo>
                  <a:cubicBezTo>
                    <a:pt x="41530" y="816"/>
                    <a:pt x="39592" y="-64"/>
                    <a:pt x="37570" y="4"/>
                  </a:cubicBezTo>
                  <a:close/>
                </a:path>
              </a:pathLst>
            </a:custGeom>
            <a:solidFill>
              <a:srgbClr val="61A60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0208768-8DD2-494C-A9B8-50984F83ECA8}"/>
                </a:ext>
              </a:extLst>
            </p:cNvPr>
            <p:cNvSpPr/>
            <p:nvPr/>
          </p:nvSpPr>
          <p:spPr>
            <a:xfrm>
              <a:off x="5361260" y="2858788"/>
              <a:ext cx="151315" cy="201629"/>
            </a:xfrm>
            <a:custGeom>
              <a:avLst/>
              <a:gdLst>
                <a:gd name="connsiteX0" fmla="*/ 78487 w 118301"/>
                <a:gd name="connsiteY0" fmla="*/ 157258 h 157638"/>
                <a:gd name="connsiteX1" fmla="*/ 78487 w 118301"/>
                <a:gd name="connsiteY1" fmla="*/ 87344 h 157638"/>
                <a:gd name="connsiteX2" fmla="*/ 56674 w 118301"/>
                <a:gd name="connsiteY2" fmla="*/ 60579 h 157638"/>
                <a:gd name="connsiteX3" fmla="*/ 56674 w 118301"/>
                <a:gd name="connsiteY3" fmla="*/ 71818 h 157638"/>
                <a:gd name="connsiteX4" fmla="*/ 48388 w 118301"/>
                <a:gd name="connsiteY4" fmla="*/ 80867 h 157638"/>
                <a:gd name="connsiteX5" fmla="*/ 43625 w 118301"/>
                <a:gd name="connsiteY5" fmla="*/ 79248 h 157638"/>
                <a:gd name="connsiteX6" fmla="*/ 3430 w 118301"/>
                <a:gd name="connsiteY6" fmla="*/ 47911 h 157638"/>
                <a:gd name="connsiteX7" fmla="*/ 1 w 118301"/>
                <a:gd name="connsiteY7" fmla="*/ 40481 h 157638"/>
                <a:gd name="connsiteX8" fmla="*/ 3430 w 118301"/>
                <a:gd name="connsiteY8" fmla="*/ 33052 h 157638"/>
                <a:gd name="connsiteX9" fmla="*/ 43625 w 118301"/>
                <a:gd name="connsiteY9" fmla="*/ 1715 h 157638"/>
                <a:gd name="connsiteX10" fmla="*/ 48388 w 118301"/>
                <a:gd name="connsiteY10" fmla="*/ 0 h 157638"/>
                <a:gd name="connsiteX11" fmla="*/ 56697 w 118301"/>
                <a:gd name="connsiteY11" fmla="*/ 9194 h 157638"/>
                <a:gd name="connsiteX12" fmla="*/ 56674 w 118301"/>
                <a:gd name="connsiteY12" fmla="*/ 9525 h 157638"/>
                <a:gd name="connsiteX13" fmla="*/ 56674 w 118301"/>
                <a:gd name="connsiteY13" fmla="*/ 21050 h 157638"/>
                <a:gd name="connsiteX14" fmla="*/ 118301 w 118301"/>
                <a:gd name="connsiteY14" fmla="*/ 87725 h 157638"/>
                <a:gd name="connsiteX15" fmla="*/ 118301 w 118301"/>
                <a:gd name="connsiteY15" fmla="*/ 157639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301" h="157638">
                  <a:moveTo>
                    <a:pt x="78487" y="157258"/>
                  </a:moveTo>
                  <a:lnTo>
                    <a:pt x="78487" y="87344"/>
                  </a:lnTo>
                  <a:cubicBezTo>
                    <a:pt x="78487" y="70294"/>
                    <a:pt x="71343" y="61531"/>
                    <a:pt x="56674" y="60579"/>
                  </a:cubicBezTo>
                  <a:lnTo>
                    <a:pt x="56674" y="71818"/>
                  </a:lnTo>
                  <a:cubicBezTo>
                    <a:pt x="56837" y="76588"/>
                    <a:pt x="53153" y="80611"/>
                    <a:pt x="48388" y="80867"/>
                  </a:cubicBezTo>
                  <a:cubicBezTo>
                    <a:pt x="46667" y="80854"/>
                    <a:pt x="44998" y="80285"/>
                    <a:pt x="43625" y="79248"/>
                  </a:cubicBezTo>
                  <a:lnTo>
                    <a:pt x="3430" y="47911"/>
                  </a:lnTo>
                  <a:cubicBezTo>
                    <a:pt x="1227" y="46076"/>
                    <a:pt x="-33" y="43347"/>
                    <a:pt x="1" y="40481"/>
                  </a:cubicBezTo>
                  <a:cubicBezTo>
                    <a:pt x="-33" y="37615"/>
                    <a:pt x="1227" y="34886"/>
                    <a:pt x="3430" y="33052"/>
                  </a:cubicBezTo>
                  <a:lnTo>
                    <a:pt x="43625" y="1715"/>
                  </a:lnTo>
                  <a:cubicBezTo>
                    <a:pt x="44988" y="649"/>
                    <a:pt x="46658" y="48"/>
                    <a:pt x="48388" y="0"/>
                  </a:cubicBezTo>
                  <a:cubicBezTo>
                    <a:pt x="53222" y="244"/>
                    <a:pt x="56941" y="4361"/>
                    <a:pt x="56697" y="9194"/>
                  </a:cubicBezTo>
                  <a:cubicBezTo>
                    <a:pt x="56692" y="9304"/>
                    <a:pt x="56684" y="9415"/>
                    <a:pt x="56674" y="9525"/>
                  </a:cubicBezTo>
                  <a:lnTo>
                    <a:pt x="56674" y="21050"/>
                  </a:lnTo>
                  <a:cubicBezTo>
                    <a:pt x="85249" y="22098"/>
                    <a:pt x="118301" y="40100"/>
                    <a:pt x="118301" y="87725"/>
                  </a:cubicBezTo>
                  <a:lnTo>
                    <a:pt x="118301" y="15763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D1E075C-38F9-44EC-A1FF-1D75F37B2B56}"/>
                </a:ext>
              </a:extLst>
            </p:cNvPr>
            <p:cNvSpPr/>
            <p:nvPr/>
          </p:nvSpPr>
          <p:spPr>
            <a:xfrm>
              <a:off x="5357602" y="2855255"/>
              <a:ext cx="158387" cy="207964"/>
            </a:xfrm>
            <a:custGeom>
              <a:avLst/>
              <a:gdLst>
                <a:gd name="connsiteX0" fmla="*/ 51247 w 123830"/>
                <a:gd name="connsiteY0" fmla="*/ 5620 h 162591"/>
                <a:gd name="connsiteX1" fmla="*/ 56686 w 123830"/>
                <a:gd name="connsiteY1" fmla="*/ 11780 h 162591"/>
                <a:gd name="connsiteX2" fmla="*/ 56676 w 123830"/>
                <a:gd name="connsiteY2" fmla="*/ 11906 h 162591"/>
                <a:gd name="connsiteX3" fmla="*/ 56676 w 123830"/>
                <a:gd name="connsiteY3" fmla="*/ 26194 h 162591"/>
                <a:gd name="connsiteX4" fmla="*/ 118303 w 123830"/>
                <a:gd name="connsiteY4" fmla="*/ 90107 h 162591"/>
                <a:gd name="connsiteX5" fmla="*/ 118303 w 123830"/>
                <a:gd name="connsiteY5" fmla="*/ 156782 h 162591"/>
                <a:gd name="connsiteX6" fmla="*/ 84203 w 123830"/>
                <a:gd name="connsiteY6" fmla="*/ 156782 h 162591"/>
                <a:gd name="connsiteX7" fmla="*/ 84203 w 123830"/>
                <a:gd name="connsiteY7" fmla="*/ 90107 h 162591"/>
                <a:gd name="connsiteX8" fmla="*/ 56676 w 123830"/>
                <a:gd name="connsiteY8" fmla="*/ 60388 h 162591"/>
                <a:gd name="connsiteX9" fmla="*/ 56676 w 123830"/>
                <a:gd name="connsiteY9" fmla="*/ 74581 h 162591"/>
                <a:gd name="connsiteX10" fmla="*/ 51272 w 123830"/>
                <a:gd name="connsiteY10" fmla="*/ 80770 h 162591"/>
                <a:gd name="connsiteX11" fmla="*/ 51247 w 123830"/>
                <a:gd name="connsiteY11" fmla="*/ 80772 h 162591"/>
                <a:gd name="connsiteX12" fmla="*/ 48199 w 123830"/>
                <a:gd name="connsiteY12" fmla="*/ 79724 h 162591"/>
                <a:gd name="connsiteX13" fmla="*/ 8099 w 123830"/>
                <a:gd name="connsiteY13" fmla="*/ 48387 h 162591"/>
                <a:gd name="connsiteX14" fmla="*/ 7198 w 123830"/>
                <a:gd name="connsiteY14" fmla="*/ 39001 h 162591"/>
                <a:gd name="connsiteX15" fmla="*/ 8099 w 123830"/>
                <a:gd name="connsiteY15" fmla="*/ 38100 h 162591"/>
                <a:gd name="connsiteX16" fmla="*/ 48199 w 123830"/>
                <a:gd name="connsiteY16" fmla="*/ 6763 h 162591"/>
                <a:gd name="connsiteX17" fmla="*/ 51247 w 123830"/>
                <a:gd name="connsiteY17" fmla="*/ 5620 h 162591"/>
                <a:gd name="connsiteX18" fmla="*/ 51247 w 123830"/>
                <a:gd name="connsiteY18" fmla="*/ 0 h 162591"/>
                <a:gd name="connsiteX19" fmla="*/ 44675 w 123830"/>
                <a:gd name="connsiteY19" fmla="*/ 2286 h 162591"/>
                <a:gd name="connsiteX20" fmla="*/ 4574 w 123830"/>
                <a:gd name="connsiteY20" fmla="*/ 33528 h 162591"/>
                <a:gd name="connsiteX21" fmla="*/ 2 w 123830"/>
                <a:gd name="connsiteY21" fmla="*/ 43053 h 162591"/>
                <a:gd name="connsiteX22" fmla="*/ 4574 w 123830"/>
                <a:gd name="connsiteY22" fmla="*/ 52578 h 162591"/>
                <a:gd name="connsiteX23" fmla="*/ 44675 w 123830"/>
                <a:gd name="connsiteY23" fmla="*/ 83915 h 162591"/>
                <a:gd name="connsiteX24" fmla="*/ 51247 w 123830"/>
                <a:gd name="connsiteY24" fmla="*/ 86201 h 162591"/>
                <a:gd name="connsiteX25" fmla="*/ 62391 w 123830"/>
                <a:gd name="connsiteY25" fmla="*/ 74307 h 162591"/>
                <a:gd name="connsiteX26" fmla="*/ 62391 w 123830"/>
                <a:gd name="connsiteY26" fmla="*/ 74295 h 162591"/>
                <a:gd name="connsiteX27" fmla="*/ 62391 w 123830"/>
                <a:gd name="connsiteY27" fmla="*/ 66199 h 162591"/>
                <a:gd name="connsiteX28" fmla="*/ 78488 w 123830"/>
                <a:gd name="connsiteY28" fmla="*/ 89821 h 162591"/>
                <a:gd name="connsiteX29" fmla="*/ 78488 w 123830"/>
                <a:gd name="connsiteY29" fmla="*/ 162592 h 162591"/>
                <a:gd name="connsiteX30" fmla="*/ 123732 w 123830"/>
                <a:gd name="connsiteY30" fmla="*/ 162592 h 162591"/>
                <a:gd name="connsiteX31" fmla="*/ 123732 w 123830"/>
                <a:gd name="connsiteY31" fmla="*/ 90107 h 162591"/>
                <a:gd name="connsiteX32" fmla="*/ 103634 w 123830"/>
                <a:gd name="connsiteY32" fmla="*/ 37624 h 162591"/>
                <a:gd name="connsiteX33" fmla="*/ 62391 w 123830"/>
                <a:gd name="connsiteY33" fmla="*/ 20574 h 162591"/>
                <a:gd name="connsiteX34" fmla="*/ 62391 w 123830"/>
                <a:gd name="connsiteY34" fmla="*/ 11906 h 162591"/>
                <a:gd name="connsiteX35" fmla="*/ 51259 w 123830"/>
                <a:gd name="connsiteY35" fmla="*/ 0 h 162591"/>
                <a:gd name="connsiteX36" fmla="*/ 51247 w 123830"/>
                <a:gd name="connsiteY36" fmla="*/ 0 h 162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3830" h="162591">
                  <a:moveTo>
                    <a:pt x="51247" y="5620"/>
                  </a:moveTo>
                  <a:cubicBezTo>
                    <a:pt x="54449" y="5819"/>
                    <a:pt x="56885" y="8576"/>
                    <a:pt x="56686" y="11780"/>
                  </a:cubicBezTo>
                  <a:cubicBezTo>
                    <a:pt x="56683" y="11821"/>
                    <a:pt x="56680" y="11864"/>
                    <a:pt x="56676" y="11906"/>
                  </a:cubicBezTo>
                  <a:lnTo>
                    <a:pt x="56676" y="26194"/>
                  </a:lnTo>
                  <a:cubicBezTo>
                    <a:pt x="89442" y="26194"/>
                    <a:pt x="118303" y="46863"/>
                    <a:pt x="118303" y="90107"/>
                  </a:cubicBezTo>
                  <a:lnTo>
                    <a:pt x="118303" y="156782"/>
                  </a:lnTo>
                  <a:lnTo>
                    <a:pt x="84203" y="156782"/>
                  </a:lnTo>
                  <a:lnTo>
                    <a:pt x="84203" y="90107"/>
                  </a:lnTo>
                  <a:cubicBezTo>
                    <a:pt x="84203" y="68485"/>
                    <a:pt x="73059" y="60388"/>
                    <a:pt x="56676" y="60388"/>
                  </a:cubicBezTo>
                  <a:lnTo>
                    <a:pt x="56676" y="74581"/>
                  </a:lnTo>
                  <a:cubicBezTo>
                    <a:pt x="56893" y="77782"/>
                    <a:pt x="54473" y="80554"/>
                    <a:pt x="51272" y="80770"/>
                  </a:cubicBezTo>
                  <a:cubicBezTo>
                    <a:pt x="51263" y="80771"/>
                    <a:pt x="51255" y="80771"/>
                    <a:pt x="51247" y="80772"/>
                  </a:cubicBezTo>
                  <a:cubicBezTo>
                    <a:pt x="50140" y="80787"/>
                    <a:pt x="49062" y="80417"/>
                    <a:pt x="48199" y="79724"/>
                  </a:cubicBezTo>
                  <a:lnTo>
                    <a:pt x="8099" y="48387"/>
                  </a:lnTo>
                  <a:cubicBezTo>
                    <a:pt x="5258" y="46044"/>
                    <a:pt x="4855" y="41841"/>
                    <a:pt x="7198" y="39001"/>
                  </a:cubicBezTo>
                  <a:cubicBezTo>
                    <a:pt x="7469" y="38672"/>
                    <a:pt x="7770" y="38371"/>
                    <a:pt x="8099" y="38100"/>
                  </a:cubicBezTo>
                  <a:lnTo>
                    <a:pt x="48199" y="6763"/>
                  </a:lnTo>
                  <a:cubicBezTo>
                    <a:pt x="49053" y="6043"/>
                    <a:pt x="50130" y="5639"/>
                    <a:pt x="51247" y="5620"/>
                  </a:cubicBezTo>
                  <a:moveTo>
                    <a:pt x="51247" y="0"/>
                  </a:moveTo>
                  <a:cubicBezTo>
                    <a:pt x="48861" y="-1"/>
                    <a:pt x="46544" y="804"/>
                    <a:pt x="44675" y="2286"/>
                  </a:cubicBezTo>
                  <a:lnTo>
                    <a:pt x="4574" y="33528"/>
                  </a:lnTo>
                  <a:cubicBezTo>
                    <a:pt x="1671" y="35835"/>
                    <a:pt x="-14" y="39345"/>
                    <a:pt x="2" y="43053"/>
                  </a:cubicBezTo>
                  <a:cubicBezTo>
                    <a:pt x="-73" y="46774"/>
                    <a:pt x="1624" y="50309"/>
                    <a:pt x="4574" y="52578"/>
                  </a:cubicBezTo>
                  <a:lnTo>
                    <a:pt x="44675" y="83915"/>
                  </a:lnTo>
                  <a:cubicBezTo>
                    <a:pt x="46544" y="85397"/>
                    <a:pt x="48861" y="86202"/>
                    <a:pt x="51247" y="86201"/>
                  </a:cubicBezTo>
                  <a:cubicBezTo>
                    <a:pt x="57609" y="85995"/>
                    <a:pt x="62599" y="80669"/>
                    <a:pt x="62391" y="74307"/>
                  </a:cubicBezTo>
                  <a:cubicBezTo>
                    <a:pt x="62391" y="74304"/>
                    <a:pt x="62391" y="74299"/>
                    <a:pt x="62391" y="74295"/>
                  </a:cubicBezTo>
                  <a:lnTo>
                    <a:pt x="62391" y="66199"/>
                  </a:lnTo>
                  <a:cubicBezTo>
                    <a:pt x="73440" y="68009"/>
                    <a:pt x="78488" y="75724"/>
                    <a:pt x="78488" y="89821"/>
                  </a:cubicBezTo>
                  <a:lnTo>
                    <a:pt x="78488" y="162592"/>
                  </a:lnTo>
                  <a:lnTo>
                    <a:pt x="123732" y="162592"/>
                  </a:lnTo>
                  <a:lnTo>
                    <a:pt x="123732" y="90107"/>
                  </a:lnTo>
                  <a:cubicBezTo>
                    <a:pt x="124776" y="70555"/>
                    <a:pt x="117471" y="51478"/>
                    <a:pt x="103634" y="37624"/>
                  </a:cubicBezTo>
                  <a:cubicBezTo>
                    <a:pt x="92283" y="27324"/>
                    <a:pt x="77702" y="21297"/>
                    <a:pt x="62391" y="20574"/>
                  </a:cubicBezTo>
                  <a:lnTo>
                    <a:pt x="62391" y="11906"/>
                  </a:lnTo>
                  <a:cubicBezTo>
                    <a:pt x="62605" y="5545"/>
                    <a:pt x="57621" y="214"/>
                    <a:pt x="51259" y="0"/>
                  </a:cubicBezTo>
                  <a:cubicBezTo>
                    <a:pt x="51255" y="0"/>
                    <a:pt x="51251" y="0"/>
                    <a:pt x="51247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DB2DFDD-862F-40D0-9249-D5EBDE1479C7}"/>
                </a:ext>
              </a:extLst>
            </p:cNvPr>
            <p:cNvSpPr/>
            <p:nvPr/>
          </p:nvSpPr>
          <p:spPr>
            <a:xfrm>
              <a:off x="5364859" y="2862443"/>
              <a:ext cx="144060" cy="193345"/>
            </a:xfrm>
            <a:custGeom>
              <a:avLst/>
              <a:gdLst>
                <a:gd name="connsiteX0" fmla="*/ 45288 w 112629"/>
                <a:gd name="connsiteY0" fmla="*/ 6191 h 151161"/>
                <a:gd name="connsiteX1" fmla="*/ 45288 w 112629"/>
                <a:gd name="connsiteY1" fmla="*/ 6191 h 151161"/>
                <a:gd name="connsiteX2" fmla="*/ 45288 w 112629"/>
                <a:gd name="connsiteY2" fmla="*/ 26194 h 151161"/>
                <a:gd name="connsiteX3" fmla="*/ 51384 w 112629"/>
                <a:gd name="connsiteY3" fmla="*/ 26194 h 151161"/>
                <a:gd name="connsiteX4" fmla="*/ 90627 w 112629"/>
                <a:gd name="connsiteY4" fmla="*/ 40386 h 151161"/>
                <a:gd name="connsiteX5" fmla="*/ 107295 w 112629"/>
                <a:gd name="connsiteY5" fmla="*/ 84392 h 151161"/>
                <a:gd name="connsiteX6" fmla="*/ 107295 w 112629"/>
                <a:gd name="connsiteY6" fmla="*/ 146304 h 151161"/>
                <a:gd name="connsiteX7" fmla="*/ 84150 w 112629"/>
                <a:gd name="connsiteY7" fmla="*/ 146304 h 151161"/>
                <a:gd name="connsiteX8" fmla="*/ 84150 w 112629"/>
                <a:gd name="connsiteY8" fmla="*/ 84487 h 151161"/>
                <a:gd name="connsiteX9" fmla="*/ 51003 w 112629"/>
                <a:gd name="connsiteY9" fmla="*/ 49054 h 151161"/>
                <a:gd name="connsiteX10" fmla="*/ 45383 w 112629"/>
                <a:gd name="connsiteY10" fmla="*/ 49054 h 151161"/>
                <a:gd name="connsiteX11" fmla="*/ 45383 w 112629"/>
                <a:gd name="connsiteY11" fmla="*/ 68961 h 151161"/>
                <a:gd name="connsiteX12" fmla="*/ 45383 w 112629"/>
                <a:gd name="connsiteY12" fmla="*/ 68961 h 151161"/>
                <a:gd name="connsiteX13" fmla="*/ 5854 w 112629"/>
                <a:gd name="connsiteY13" fmla="*/ 38290 h 151161"/>
                <a:gd name="connsiteX14" fmla="*/ 5854 w 112629"/>
                <a:gd name="connsiteY14" fmla="*/ 36957 h 151161"/>
                <a:gd name="connsiteX15" fmla="*/ 45288 w 112629"/>
                <a:gd name="connsiteY15" fmla="*/ 6191 h 151161"/>
                <a:gd name="connsiteX16" fmla="*/ 45288 w 112629"/>
                <a:gd name="connsiteY16" fmla="*/ 0 h 151161"/>
                <a:gd name="connsiteX17" fmla="*/ 42240 w 112629"/>
                <a:gd name="connsiteY17" fmla="*/ 1143 h 151161"/>
                <a:gd name="connsiteX18" fmla="*/ 2425 w 112629"/>
                <a:gd name="connsiteY18" fmla="*/ 32480 h 151161"/>
                <a:gd name="connsiteX19" fmla="*/ 1524 w 112629"/>
                <a:gd name="connsiteY19" fmla="*/ 41866 h 151161"/>
                <a:gd name="connsiteX20" fmla="*/ 2425 w 112629"/>
                <a:gd name="connsiteY20" fmla="*/ 42767 h 151161"/>
                <a:gd name="connsiteX21" fmla="*/ 42525 w 112629"/>
                <a:gd name="connsiteY21" fmla="*/ 74105 h 151161"/>
                <a:gd name="connsiteX22" fmla="*/ 45573 w 112629"/>
                <a:gd name="connsiteY22" fmla="*/ 75152 h 151161"/>
                <a:gd name="connsiteX23" fmla="*/ 51004 w 112629"/>
                <a:gd name="connsiteY23" fmla="*/ 68986 h 151161"/>
                <a:gd name="connsiteX24" fmla="*/ 51003 w 112629"/>
                <a:gd name="connsiteY24" fmla="*/ 68961 h 151161"/>
                <a:gd name="connsiteX25" fmla="*/ 51003 w 112629"/>
                <a:gd name="connsiteY25" fmla="*/ 54769 h 151161"/>
                <a:gd name="connsiteX26" fmla="*/ 78530 w 112629"/>
                <a:gd name="connsiteY26" fmla="*/ 84487 h 151161"/>
                <a:gd name="connsiteX27" fmla="*/ 78530 w 112629"/>
                <a:gd name="connsiteY27" fmla="*/ 151162 h 151161"/>
                <a:gd name="connsiteX28" fmla="*/ 112629 w 112629"/>
                <a:gd name="connsiteY28" fmla="*/ 151162 h 151161"/>
                <a:gd name="connsiteX29" fmla="*/ 112629 w 112629"/>
                <a:gd name="connsiteY29" fmla="*/ 84487 h 151161"/>
                <a:gd name="connsiteX30" fmla="*/ 51003 w 112629"/>
                <a:gd name="connsiteY30" fmla="*/ 20574 h 151161"/>
                <a:gd name="connsiteX31" fmla="*/ 51003 w 112629"/>
                <a:gd name="connsiteY31" fmla="*/ 6286 h 151161"/>
                <a:gd name="connsiteX32" fmla="*/ 45700 w 112629"/>
                <a:gd name="connsiteY32" fmla="*/ 10 h 151161"/>
                <a:gd name="connsiteX33" fmla="*/ 45573 w 112629"/>
                <a:gd name="connsiteY33" fmla="*/ 0 h 151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2629" h="151161">
                  <a:moveTo>
                    <a:pt x="45288" y="6191"/>
                  </a:moveTo>
                  <a:lnTo>
                    <a:pt x="45288" y="6191"/>
                  </a:lnTo>
                  <a:lnTo>
                    <a:pt x="45288" y="26194"/>
                  </a:lnTo>
                  <a:lnTo>
                    <a:pt x="51384" y="26194"/>
                  </a:lnTo>
                  <a:cubicBezTo>
                    <a:pt x="65786" y="25809"/>
                    <a:pt x="79802" y="30878"/>
                    <a:pt x="90627" y="40386"/>
                  </a:cubicBezTo>
                  <a:cubicBezTo>
                    <a:pt x="102099" y="52073"/>
                    <a:pt x="108146" y="68036"/>
                    <a:pt x="107295" y="84392"/>
                  </a:cubicBezTo>
                  <a:lnTo>
                    <a:pt x="107295" y="146304"/>
                  </a:lnTo>
                  <a:lnTo>
                    <a:pt x="84150" y="146304"/>
                  </a:lnTo>
                  <a:lnTo>
                    <a:pt x="84150" y="84487"/>
                  </a:lnTo>
                  <a:cubicBezTo>
                    <a:pt x="84150" y="61627"/>
                    <a:pt x="72434" y="49054"/>
                    <a:pt x="51003" y="49054"/>
                  </a:cubicBezTo>
                  <a:lnTo>
                    <a:pt x="45383" y="49054"/>
                  </a:lnTo>
                  <a:lnTo>
                    <a:pt x="45383" y="68961"/>
                  </a:lnTo>
                  <a:lnTo>
                    <a:pt x="45383" y="68961"/>
                  </a:lnTo>
                  <a:lnTo>
                    <a:pt x="5854" y="38290"/>
                  </a:lnTo>
                  <a:cubicBezTo>
                    <a:pt x="5594" y="37884"/>
                    <a:pt x="5594" y="37364"/>
                    <a:pt x="5854" y="36957"/>
                  </a:cubicBezTo>
                  <a:lnTo>
                    <a:pt x="45288" y="6191"/>
                  </a:lnTo>
                  <a:moveTo>
                    <a:pt x="45288" y="0"/>
                  </a:moveTo>
                  <a:cubicBezTo>
                    <a:pt x="44170" y="19"/>
                    <a:pt x="43094" y="423"/>
                    <a:pt x="42240" y="1143"/>
                  </a:cubicBezTo>
                  <a:lnTo>
                    <a:pt x="2425" y="32480"/>
                  </a:lnTo>
                  <a:cubicBezTo>
                    <a:pt x="-416" y="34823"/>
                    <a:pt x="-819" y="39026"/>
                    <a:pt x="1524" y="41866"/>
                  </a:cubicBezTo>
                  <a:cubicBezTo>
                    <a:pt x="1795" y="42195"/>
                    <a:pt x="2097" y="42497"/>
                    <a:pt x="2425" y="42767"/>
                  </a:cubicBezTo>
                  <a:lnTo>
                    <a:pt x="42525" y="74105"/>
                  </a:lnTo>
                  <a:cubicBezTo>
                    <a:pt x="43388" y="74797"/>
                    <a:pt x="44466" y="75167"/>
                    <a:pt x="45573" y="75152"/>
                  </a:cubicBezTo>
                  <a:cubicBezTo>
                    <a:pt x="48776" y="74949"/>
                    <a:pt x="51207" y="72188"/>
                    <a:pt x="51004" y="68986"/>
                  </a:cubicBezTo>
                  <a:cubicBezTo>
                    <a:pt x="51004" y="68977"/>
                    <a:pt x="51004" y="68970"/>
                    <a:pt x="51003" y="68961"/>
                  </a:cubicBezTo>
                  <a:lnTo>
                    <a:pt x="51003" y="54769"/>
                  </a:lnTo>
                  <a:cubicBezTo>
                    <a:pt x="67386" y="54769"/>
                    <a:pt x="78530" y="62865"/>
                    <a:pt x="78530" y="84487"/>
                  </a:cubicBezTo>
                  <a:lnTo>
                    <a:pt x="78530" y="151162"/>
                  </a:lnTo>
                  <a:lnTo>
                    <a:pt x="112629" y="151162"/>
                  </a:lnTo>
                  <a:lnTo>
                    <a:pt x="112629" y="84487"/>
                  </a:lnTo>
                  <a:cubicBezTo>
                    <a:pt x="112629" y="41243"/>
                    <a:pt x="84054" y="20574"/>
                    <a:pt x="51003" y="20574"/>
                  </a:cubicBezTo>
                  <a:lnTo>
                    <a:pt x="51003" y="6286"/>
                  </a:lnTo>
                  <a:cubicBezTo>
                    <a:pt x="51272" y="3089"/>
                    <a:pt x="48898" y="278"/>
                    <a:pt x="45700" y="10"/>
                  </a:cubicBezTo>
                  <a:cubicBezTo>
                    <a:pt x="45658" y="6"/>
                    <a:pt x="45615" y="3"/>
                    <a:pt x="45573" y="0"/>
                  </a:cubicBezTo>
                  <a:close/>
                </a:path>
              </a:pathLst>
            </a:custGeom>
            <a:solidFill>
              <a:srgbClr val="61A60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3E9B510-9FB7-4D94-A064-6738C342D432}"/>
                </a:ext>
              </a:extLst>
            </p:cNvPr>
            <p:cNvSpPr/>
            <p:nvPr/>
          </p:nvSpPr>
          <p:spPr>
            <a:xfrm>
              <a:off x="5461649" y="2858300"/>
              <a:ext cx="151313" cy="201629"/>
            </a:xfrm>
            <a:custGeom>
              <a:avLst/>
              <a:gdLst>
                <a:gd name="connsiteX0" fmla="*/ 0 w 118300"/>
                <a:gd name="connsiteY0" fmla="*/ 157639 h 157638"/>
                <a:gd name="connsiteX1" fmla="*/ 0 w 118300"/>
                <a:gd name="connsiteY1" fmla="*/ 87725 h 157638"/>
                <a:gd name="connsiteX2" fmla="*/ 61532 w 118300"/>
                <a:gd name="connsiteY2" fmla="*/ 21050 h 157638"/>
                <a:gd name="connsiteX3" fmla="*/ 61532 w 118300"/>
                <a:gd name="connsiteY3" fmla="*/ 9525 h 157638"/>
                <a:gd name="connsiteX4" fmla="*/ 69487 w 118300"/>
                <a:gd name="connsiteY4" fmla="*/ 23 h 157638"/>
                <a:gd name="connsiteX5" fmla="*/ 69818 w 118300"/>
                <a:gd name="connsiteY5" fmla="*/ 0 h 157638"/>
                <a:gd name="connsiteX6" fmla="*/ 74676 w 118300"/>
                <a:gd name="connsiteY6" fmla="*/ 1714 h 157638"/>
                <a:gd name="connsiteX7" fmla="*/ 114776 w 118300"/>
                <a:gd name="connsiteY7" fmla="*/ 33052 h 157638"/>
                <a:gd name="connsiteX8" fmla="*/ 118300 w 118300"/>
                <a:gd name="connsiteY8" fmla="*/ 40481 h 157638"/>
                <a:gd name="connsiteX9" fmla="*/ 114776 w 118300"/>
                <a:gd name="connsiteY9" fmla="*/ 47911 h 157638"/>
                <a:gd name="connsiteX10" fmla="*/ 74676 w 118300"/>
                <a:gd name="connsiteY10" fmla="*/ 79248 h 157638"/>
                <a:gd name="connsiteX11" fmla="*/ 69818 w 118300"/>
                <a:gd name="connsiteY11" fmla="*/ 80867 h 157638"/>
                <a:gd name="connsiteX12" fmla="*/ 69818 w 118300"/>
                <a:gd name="connsiteY12" fmla="*/ 80867 h 157638"/>
                <a:gd name="connsiteX13" fmla="*/ 61532 w 118300"/>
                <a:gd name="connsiteY13" fmla="*/ 71819 h 157638"/>
                <a:gd name="connsiteX14" fmla="*/ 61532 w 118300"/>
                <a:gd name="connsiteY14" fmla="*/ 60960 h 157638"/>
                <a:gd name="connsiteX15" fmla="*/ 39814 w 118300"/>
                <a:gd name="connsiteY15" fmla="*/ 87725 h 157638"/>
                <a:gd name="connsiteX16" fmla="*/ 39814 w 118300"/>
                <a:gd name="connsiteY16" fmla="*/ 157639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8300" h="157638">
                  <a:moveTo>
                    <a:pt x="0" y="157639"/>
                  </a:moveTo>
                  <a:lnTo>
                    <a:pt x="0" y="87725"/>
                  </a:lnTo>
                  <a:cubicBezTo>
                    <a:pt x="0" y="40100"/>
                    <a:pt x="32480" y="22098"/>
                    <a:pt x="61532" y="21050"/>
                  </a:cubicBezTo>
                  <a:lnTo>
                    <a:pt x="61532" y="9525"/>
                  </a:lnTo>
                  <a:cubicBezTo>
                    <a:pt x="61105" y="4704"/>
                    <a:pt x="64666" y="450"/>
                    <a:pt x="69487" y="23"/>
                  </a:cubicBezTo>
                  <a:cubicBezTo>
                    <a:pt x="69597" y="13"/>
                    <a:pt x="69708" y="6"/>
                    <a:pt x="69818" y="0"/>
                  </a:cubicBezTo>
                  <a:cubicBezTo>
                    <a:pt x="71578" y="48"/>
                    <a:pt x="73277" y="648"/>
                    <a:pt x="74676" y="1714"/>
                  </a:cubicBezTo>
                  <a:lnTo>
                    <a:pt x="114776" y="33052"/>
                  </a:lnTo>
                  <a:cubicBezTo>
                    <a:pt x="117015" y="34867"/>
                    <a:pt x="118310" y="37599"/>
                    <a:pt x="118300" y="40481"/>
                  </a:cubicBezTo>
                  <a:cubicBezTo>
                    <a:pt x="118310" y="43364"/>
                    <a:pt x="117015" y="46095"/>
                    <a:pt x="114776" y="47911"/>
                  </a:cubicBezTo>
                  <a:lnTo>
                    <a:pt x="74676" y="79248"/>
                  </a:lnTo>
                  <a:cubicBezTo>
                    <a:pt x="73268" y="80287"/>
                    <a:pt x="71568" y="80854"/>
                    <a:pt x="69818" y="80867"/>
                  </a:cubicBezTo>
                  <a:lnTo>
                    <a:pt x="69818" y="80867"/>
                  </a:lnTo>
                  <a:cubicBezTo>
                    <a:pt x="65053" y="80611"/>
                    <a:pt x="61369" y="76588"/>
                    <a:pt x="61532" y="71819"/>
                  </a:cubicBezTo>
                  <a:lnTo>
                    <a:pt x="61532" y="60960"/>
                  </a:lnTo>
                  <a:cubicBezTo>
                    <a:pt x="46958" y="61912"/>
                    <a:pt x="39814" y="70485"/>
                    <a:pt x="39814" y="87725"/>
                  </a:cubicBezTo>
                  <a:lnTo>
                    <a:pt x="39814" y="15763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0D317D6-70F5-4310-A2F1-ED0E4C5CE88A}"/>
                </a:ext>
              </a:extLst>
            </p:cNvPr>
            <p:cNvSpPr/>
            <p:nvPr/>
          </p:nvSpPr>
          <p:spPr>
            <a:xfrm>
              <a:off x="5457899" y="2855255"/>
              <a:ext cx="158353" cy="208086"/>
            </a:xfrm>
            <a:custGeom>
              <a:avLst/>
              <a:gdLst>
                <a:gd name="connsiteX0" fmla="*/ 72750 w 123804"/>
                <a:gd name="connsiteY0" fmla="*/ 5620 h 162686"/>
                <a:gd name="connsiteX1" fmla="*/ 75798 w 123804"/>
                <a:gd name="connsiteY1" fmla="*/ 6763 h 162686"/>
                <a:gd name="connsiteX2" fmla="*/ 115994 w 123804"/>
                <a:gd name="connsiteY2" fmla="*/ 38100 h 162686"/>
                <a:gd name="connsiteX3" fmla="*/ 116746 w 123804"/>
                <a:gd name="connsiteY3" fmla="*/ 47635 h 162686"/>
                <a:gd name="connsiteX4" fmla="*/ 115994 w 123804"/>
                <a:gd name="connsiteY4" fmla="*/ 48387 h 162686"/>
                <a:gd name="connsiteX5" fmla="*/ 75798 w 123804"/>
                <a:gd name="connsiteY5" fmla="*/ 79724 h 162686"/>
                <a:gd name="connsiteX6" fmla="*/ 72750 w 123804"/>
                <a:gd name="connsiteY6" fmla="*/ 80772 h 162686"/>
                <a:gd name="connsiteX7" fmla="*/ 67321 w 123804"/>
                <a:gd name="connsiteY7" fmla="*/ 74581 h 162686"/>
                <a:gd name="connsiteX8" fmla="*/ 67321 w 123804"/>
                <a:gd name="connsiteY8" fmla="*/ 60388 h 162686"/>
                <a:gd name="connsiteX9" fmla="*/ 39889 w 123804"/>
                <a:gd name="connsiteY9" fmla="*/ 90107 h 162686"/>
                <a:gd name="connsiteX10" fmla="*/ 39889 w 123804"/>
                <a:gd name="connsiteY10" fmla="*/ 156782 h 162686"/>
                <a:gd name="connsiteX11" fmla="*/ 5789 w 123804"/>
                <a:gd name="connsiteY11" fmla="*/ 156782 h 162686"/>
                <a:gd name="connsiteX12" fmla="*/ 5789 w 123804"/>
                <a:gd name="connsiteY12" fmla="*/ 90107 h 162686"/>
                <a:gd name="connsiteX13" fmla="*/ 67321 w 123804"/>
                <a:gd name="connsiteY13" fmla="*/ 26194 h 162686"/>
                <a:gd name="connsiteX14" fmla="*/ 67321 w 123804"/>
                <a:gd name="connsiteY14" fmla="*/ 11906 h 162686"/>
                <a:gd name="connsiteX15" fmla="*/ 72750 w 123804"/>
                <a:gd name="connsiteY15" fmla="*/ 5620 h 162686"/>
                <a:gd name="connsiteX16" fmla="*/ 72750 w 123804"/>
                <a:gd name="connsiteY16" fmla="*/ 0 h 162686"/>
                <a:gd name="connsiteX17" fmla="*/ 61606 w 123804"/>
                <a:gd name="connsiteY17" fmla="*/ 11906 h 162686"/>
                <a:gd name="connsiteX18" fmla="*/ 61606 w 123804"/>
                <a:gd name="connsiteY18" fmla="*/ 20764 h 162686"/>
                <a:gd name="connsiteX19" fmla="*/ 20362 w 123804"/>
                <a:gd name="connsiteY19" fmla="*/ 37624 h 162686"/>
                <a:gd name="connsiteX20" fmla="*/ 74 w 123804"/>
                <a:gd name="connsiteY20" fmla="*/ 89916 h 162686"/>
                <a:gd name="connsiteX21" fmla="*/ 74 w 123804"/>
                <a:gd name="connsiteY21" fmla="*/ 162687 h 162686"/>
                <a:gd name="connsiteX22" fmla="*/ 45318 w 123804"/>
                <a:gd name="connsiteY22" fmla="*/ 162687 h 162686"/>
                <a:gd name="connsiteX23" fmla="*/ 45318 w 123804"/>
                <a:gd name="connsiteY23" fmla="*/ 90107 h 162686"/>
                <a:gd name="connsiteX24" fmla="*/ 61320 w 123804"/>
                <a:gd name="connsiteY24" fmla="*/ 66485 h 162686"/>
                <a:gd name="connsiteX25" fmla="*/ 61320 w 123804"/>
                <a:gd name="connsiteY25" fmla="*/ 74581 h 162686"/>
                <a:gd name="connsiteX26" fmla="*/ 72464 w 123804"/>
                <a:gd name="connsiteY26" fmla="*/ 86487 h 162686"/>
                <a:gd name="connsiteX27" fmla="*/ 79037 w 123804"/>
                <a:gd name="connsiteY27" fmla="*/ 84201 h 162686"/>
                <a:gd name="connsiteX28" fmla="*/ 119232 w 123804"/>
                <a:gd name="connsiteY28" fmla="*/ 52864 h 162686"/>
                <a:gd name="connsiteX29" fmla="*/ 123804 w 123804"/>
                <a:gd name="connsiteY29" fmla="*/ 43339 h 162686"/>
                <a:gd name="connsiteX30" fmla="*/ 119232 w 123804"/>
                <a:gd name="connsiteY30" fmla="*/ 33814 h 162686"/>
                <a:gd name="connsiteX31" fmla="*/ 79037 w 123804"/>
                <a:gd name="connsiteY31" fmla="*/ 2572 h 162686"/>
                <a:gd name="connsiteX32" fmla="*/ 72464 w 123804"/>
                <a:gd name="connsiteY32" fmla="*/ 286 h 16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3804" h="162686">
                  <a:moveTo>
                    <a:pt x="72750" y="5620"/>
                  </a:moveTo>
                  <a:cubicBezTo>
                    <a:pt x="73867" y="5639"/>
                    <a:pt x="74944" y="6043"/>
                    <a:pt x="75798" y="6763"/>
                  </a:cubicBezTo>
                  <a:lnTo>
                    <a:pt x="115994" y="38100"/>
                  </a:lnTo>
                  <a:cubicBezTo>
                    <a:pt x="118834" y="40525"/>
                    <a:pt x="119171" y="44793"/>
                    <a:pt x="116746" y="47635"/>
                  </a:cubicBezTo>
                  <a:cubicBezTo>
                    <a:pt x="116515" y="47905"/>
                    <a:pt x="116264" y="48157"/>
                    <a:pt x="115994" y="48387"/>
                  </a:cubicBezTo>
                  <a:lnTo>
                    <a:pt x="75798" y="79724"/>
                  </a:lnTo>
                  <a:cubicBezTo>
                    <a:pt x="74935" y="80417"/>
                    <a:pt x="73857" y="80787"/>
                    <a:pt x="72750" y="80772"/>
                  </a:cubicBezTo>
                  <a:cubicBezTo>
                    <a:pt x="69563" y="80519"/>
                    <a:pt x="67156" y="77774"/>
                    <a:pt x="67321" y="74581"/>
                  </a:cubicBezTo>
                  <a:lnTo>
                    <a:pt x="67321" y="60388"/>
                  </a:lnTo>
                  <a:cubicBezTo>
                    <a:pt x="50938" y="60388"/>
                    <a:pt x="39889" y="68485"/>
                    <a:pt x="39889" y="90107"/>
                  </a:cubicBezTo>
                  <a:lnTo>
                    <a:pt x="39889" y="156782"/>
                  </a:lnTo>
                  <a:lnTo>
                    <a:pt x="5789" y="156782"/>
                  </a:lnTo>
                  <a:lnTo>
                    <a:pt x="5789" y="90107"/>
                  </a:lnTo>
                  <a:cubicBezTo>
                    <a:pt x="5789" y="46863"/>
                    <a:pt x="34364" y="26194"/>
                    <a:pt x="67321" y="26194"/>
                  </a:cubicBezTo>
                  <a:lnTo>
                    <a:pt x="67321" y="11906"/>
                  </a:lnTo>
                  <a:cubicBezTo>
                    <a:pt x="67102" y="8677"/>
                    <a:pt x="69523" y="5873"/>
                    <a:pt x="72750" y="5620"/>
                  </a:cubicBezTo>
                  <a:moveTo>
                    <a:pt x="72750" y="0"/>
                  </a:moveTo>
                  <a:cubicBezTo>
                    <a:pt x="66406" y="258"/>
                    <a:pt x="61445" y="5560"/>
                    <a:pt x="61606" y="11906"/>
                  </a:cubicBezTo>
                  <a:lnTo>
                    <a:pt x="61606" y="20764"/>
                  </a:lnTo>
                  <a:cubicBezTo>
                    <a:pt x="46319" y="21434"/>
                    <a:pt x="31741" y="27394"/>
                    <a:pt x="20362" y="37624"/>
                  </a:cubicBezTo>
                  <a:cubicBezTo>
                    <a:pt x="6537" y="51420"/>
                    <a:pt x="-829" y="70406"/>
                    <a:pt x="74" y="89916"/>
                  </a:cubicBezTo>
                  <a:lnTo>
                    <a:pt x="74" y="162687"/>
                  </a:lnTo>
                  <a:lnTo>
                    <a:pt x="45318" y="162687"/>
                  </a:lnTo>
                  <a:lnTo>
                    <a:pt x="45318" y="90107"/>
                  </a:lnTo>
                  <a:cubicBezTo>
                    <a:pt x="45318" y="75724"/>
                    <a:pt x="50271" y="68294"/>
                    <a:pt x="61320" y="66485"/>
                  </a:cubicBezTo>
                  <a:lnTo>
                    <a:pt x="61320" y="74581"/>
                  </a:lnTo>
                  <a:cubicBezTo>
                    <a:pt x="61159" y="80927"/>
                    <a:pt x="66121" y="86229"/>
                    <a:pt x="72464" y="86487"/>
                  </a:cubicBezTo>
                  <a:cubicBezTo>
                    <a:pt x="74853" y="86504"/>
                    <a:pt x="77174" y="85696"/>
                    <a:pt x="79037" y="84201"/>
                  </a:cubicBezTo>
                  <a:lnTo>
                    <a:pt x="119232" y="52864"/>
                  </a:lnTo>
                  <a:cubicBezTo>
                    <a:pt x="122147" y="50566"/>
                    <a:pt x="123834" y="47050"/>
                    <a:pt x="123804" y="43339"/>
                  </a:cubicBezTo>
                  <a:cubicBezTo>
                    <a:pt x="123779" y="39640"/>
                    <a:pt x="122102" y="36146"/>
                    <a:pt x="119232" y="33814"/>
                  </a:cubicBezTo>
                  <a:lnTo>
                    <a:pt x="79037" y="2572"/>
                  </a:lnTo>
                  <a:cubicBezTo>
                    <a:pt x="77174" y="1076"/>
                    <a:pt x="74853" y="269"/>
                    <a:pt x="72464" y="28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F243A48-496B-45D0-B28A-937DDB540748}"/>
                </a:ext>
              </a:extLst>
            </p:cNvPr>
            <p:cNvSpPr/>
            <p:nvPr/>
          </p:nvSpPr>
          <p:spPr>
            <a:xfrm>
              <a:off x="5465670" y="2862443"/>
              <a:ext cx="143992" cy="193468"/>
            </a:xfrm>
            <a:custGeom>
              <a:avLst/>
              <a:gdLst>
                <a:gd name="connsiteX0" fmla="*/ 66961 w 112576"/>
                <a:gd name="connsiteY0" fmla="*/ 6191 h 151257"/>
                <a:gd name="connsiteX1" fmla="*/ 106394 w 112576"/>
                <a:gd name="connsiteY1" fmla="*/ 36957 h 151257"/>
                <a:gd name="connsiteX2" fmla="*/ 106394 w 112576"/>
                <a:gd name="connsiteY2" fmla="*/ 37624 h 151257"/>
                <a:gd name="connsiteX3" fmla="*/ 106394 w 112576"/>
                <a:gd name="connsiteY3" fmla="*/ 38290 h 151257"/>
                <a:gd name="connsiteX4" fmla="*/ 66961 w 112576"/>
                <a:gd name="connsiteY4" fmla="*/ 69056 h 151257"/>
                <a:gd name="connsiteX5" fmla="*/ 66961 w 112576"/>
                <a:gd name="connsiteY5" fmla="*/ 69056 h 151257"/>
                <a:gd name="connsiteX6" fmla="*/ 66961 w 112576"/>
                <a:gd name="connsiteY6" fmla="*/ 49054 h 151257"/>
                <a:gd name="connsiteX7" fmla="*/ 61246 w 112576"/>
                <a:gd name="connsiteY7" fmla="*/ 49054 h 151257"/>
                <a:gd name="connsiteX8" fmla="*/ 28099 w 112576"/>
                <a:gd name="connsiteY8" fmla="*/ 84487 h 151257"/>
                <a:gd name="connsiteX9" fmla="*/ 28099 w 112576"/>
                <a:gd name="connsiteY9" fmla="*/ 146304 h 151257"/>
                <a:gd name="connsiteX10" fmla="*/ 5334 w 112576"/>
                <a:gd name="connsiteY10" fmla="*/ 146304 h 151257"/>
                <a:gd name="connsiteX11" fmla="*/ 5334 w 112576"/>
                <a:gd name="connsiteY11" fmla="*/ 84487 h 151257"/>
                <a:gd name="connsiteX12" fmla="*/ 22098 w 112576"/>
                <a:gd name="connsiteY12" fmla="*/ 40481 h 151257"/>
                <a:gd name="connsiteX13" fmla="*/ 61246 w 112576"/>
                <a:gd name="connsiteY13" fmla="*/ 26289 h 151257"/>
                <a:gd name="connsiteX14" fmla="*/ 66961 w 112576"/>
                <a:gd name="connsiteY14" fmla="*/ 26289 h 151257"/>
                <a:gd name="connsiteX15" fmla="*/ 66961 w 112576"/>
                <a:gd name="connsiteY15" fmla="*/ 6286 h 151257"/>
                <a:gd name="connsiteX16" fmla="*/ 66961 w 112576"/>
                <a:gd name="connsiteY16" fmla="*/ 6286 h 151257"/>
                <a:gd name="connsiteX17" fmla="*/ 66961 w 112576"/>
                <a:gd name="connsiteY17" fmla="*/ 95 h 151257"/>
                <a:gd name="connsiteX18" fmla="*/ 61532 w 112576"/>
                <a:gd name="connsiteY18" fmla="*/ 6382 h 151257"/>
                <a:gd name="connsiteX19" fmla="*/ 61532 w 112576"/>
                <a:gd name="connsiteY19" fmla="*/ 20669 h 151257"/>
                <a:gd name="connsiteX20" fmla="*/ 0 w 112576"/>
                <a:gd name="connsiteY20" fmla="*/ 84582 h 151257"/>
                <a:gd name="connsiteX21" fmla="*/ 0 w 112576"/>
                <a:gd name="connsiteY21" fmla="*/ 151257 h 151257"/>
                <a:gd name="connsiteX22" fmla="*/ 34099 w 112576"/>
                <a:gd name="connsiteY22" fmla="*/ 151257 h 151257"/>
                <a:gd name="connsiteX23" fmla="*/ 34099 w 112576"/>
                <a:gd name="connsiteY23" fmla="*/ 84582 h 151257"/>
                <a:gd name="connsiteX24" fmla="*/ 61532 w 112576"/>
                <a:gd name="connsiteY24" fmla="*/ 54864 h 151257"/>
                <a:gd name="connsiteX25" fmla="*/ 61532 w 112576"/>
                <a:gd name="connsiteY25" fmla="*/ 69056 h 151257"/>
                <a:gd name="connsiteX26" fmla="*/ 66961 w 112576"/>
                <a:gd name="connsiteY26" fmla="*/ 75248 h 151257"/>
                <a:gd name="connsiteX27" fmla="*/ 70009 w 112576"/>
                <a:gd name="connsiteY27" fmla="*/ 74200 h 151257"/>
                <a:gd name="connsiteX28" fmla="*/ 110204 w 112576"/>
                <a:gd name="connsiteY28" fmla="*/ 42862 h 151257"/>
                <a:gd name="connsiteX29" fmla="*/ 110957 w 112576"/>
                <a:gd name="connsiteY29" fmla="*/ 33328 h 151257"/>
                <a:gd name="connsiteX30" fmla="*/ 110204 w 112576"/>
                <a:gd name="connsiteY30" fmla="*/ 32575 h 151257"/>
                <a:gd name="connsiteX31" fmla="*/ 69723 w 112576"/>
                <a:gd name="connsiteY31" fmla="*/ 1143 h 151257"/>
                <a:gd name="connsiteX32" fmla="*/ 66675 w 112576"/>
                <a:gd name="connsiteY32" fmla="*/ 0 h 15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2576" h="151257">
                  <a:moveTo>
                    <a:pt x="66961" y="6191"/>
                  </a:moveTo>
                  <a:lnTo>
                    <a:pt x="106394" y="36957"/>
                  </a:lnTo>
                  <a:cubicBezTo>
                    <a:pt x="106394" y="36957"/>
                    <a:pt x="106394" y="36957"/>
                    <a:pt x="106394" y="37624"/>
                  </a:cubicBezTo>
                  <a:cubicBezTo>
                    <a:pt x="106394" y="38290"/>
                    <a:pt x="106394" y="38290"/>
                    <a:pt x="106394" y="38290"/>
                  </a:cubicBezTo>
                  <a:lnTo>
                    <a:pt x="66961" y="69056"/>
                  </a:lnTo>
                  <a:lnTo>
                    <a:pt x="66961" y="69056"/>
                  </a:lnTo>
                  <a:lnTo>
                    <a:pt x="66961" y="49054"/>
                  </a:lnTo>
                  <a:lnTo>
                    <a:pt x="61246" y="49054"/>
                  </a:lnTo>
                  <a:cubicBezTo>
                    <a:pt x="39910" y="49054"/>
                    <a:pt x="28099" y="61627"/>
                    <a:pt x="28099" y="84487"/>
                  </a:cubicBezTo>
                  <a:lnTo>
                    <a:pt x="28099" y="146304"/>
                  </a:lnTo>
                  <a:lnTo>
                    <a:pt x="5334" y="146304"/>
                  </a:lnTo>
                  <a:lnTo>
                    <a:pt x="5334" y="84487"/>
                  </a:lnTo>
                  <a:cubicBezTo>
                    <a:pt x="4473" y="68111"/>
                    <a:pt x="10560" y="52133"/>
                    <a:pt x="22098" y="40481"/>
                  </a:cubicBezTo>
                  <a:cubicBezTo>
                    <a:pt x="32898" y="30995"/>
                    <a:pt x="46876" y="25928"/>
                    <a:pt x="61246" y="26289"/>
                  </a:cubicBezTo>
                  <a:lnTo>
                    <a:pt x="66961" y="26289"/>
                  </a:lnTo>
                  <a:lnTo>
                    <a:pt x="66961" y="6286"/>
                  </a:lnTo>
                  <a:lnTo>
                    <a:pt x="66961" y="6286"/>
                  </a:lnTo>
                  <a:moveTo>
                    <a:pt x="66961" y="95"/>
                  </a:moveTo>
                  <a:cubicBezTo>
                    <a:pt x="63734" y="349"/>
                    <a:pt x="61312" y="3153"/>
                    <a:pt x="61532" y="6382"/>
                  </a:cubicBezTo>
                  <a:lnTo>
                    <a:pt x="61532" y="20669"/>
                  </a:lnTo>
                  <a:cubicBezTo>
                    <a:pt x="28861" y="20669"/>
                    <a:pt x="0" y="41338"/>
                    <a:pt x="0" y="84582"/>
                  </a:cubicBezTo>
                  <a:lnTo>
                    <a:pt x="0" y="151257"/>
                  </a:lnTo>
                  <a:lnTo>
                    <a:pt x="34099" y="151257"/>
                  </a:lnTo>
                  <a:lnTo>
                    <a:pt x="34099" y="84582"/>
                  </a:lnTo>
                  <a:cubicBezTo>
                    <a:pt x="34099" y="62960"/>
                    <a:pt x="45149" y="54864"/>
                    <a:pt x="61532" y="54864"/>
                  </a:cubicBezTo>
                  <a:lnTo>
                    <a:pt x="61532" y="69056"/>
                  </a:lnTo>
                  <a:cubicBezTo>
                    <a:pt x="61367" y="72249"/>
                    <a:pt x="63774" y="74994"/>
                    <a:pt x="66961" y="75248"/>
                  </a:cubicBezTo>
                  <a:cubicBezTo>
                    <a:pt x="68068" y="75263"/>
                    <a:pt x="69146" y="74892"/>
                    <a:pt x="70009" y="74200"/>
                  </a:cubicBezTo>
                  <a:lnTo>
                    <a:pt x="110204" y="42862"/>
                  </a:lnTo>
                  <a:cubicBezTo>
                    <a:pt x="113045" y="40437"/>
                    <a:pt x="113382" y="36169"/>
                    <a:pt x="110957" y="33328"/>
                  </a:cubicBezTo>
                  <a:cubicBezTo>
                    <a:pt x="110726" y="33057"/>
                    <a:pt x="110475" y="32806"/>
                    <a:pt x="110204" y="32575"/>
                  </a:cubicBezTo>
                  <a:lnTo>
                    <a:pt x="69723" y="1143"/>
                  </a:lnTo>
                  <a:cubicBezTo>
                    <a:pt x="68869" y="423"/>
                    <a:pt x="67792" y="19"/>
                    <a:pt x="66675" y="0"/>
                  </a:cubicBezTo>
                  <a:close/>
                </a:path>
              </a:pathLst>
            </a:custGeom>
            <a:solidFill>
              <a:srgbClr val="61A60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1F8DECA-4D1E-4315-AF73-98B97B976AB2}"/>
                </a:ext>
              </a:extLst>
            </p:cNvPr>
            <p:cNvSpPr/>
            <p:nvPr/>
          </p:nvSpPr>
          <p:spPr>
            <a:xfrm rot="19696800">
              <a:off x="5328123" y="2736684"/>
              <a:ext cx="317959" cy="317958"/>
            </a:xfrm>
            <a:custGeom>
              <a:avLst/>
              <a:gdLst>
                <a:gd name="connsiteX0" fmla="*/ 238887 w 238887"/>
                <a:gd name="connsiteY0" fmla="*/ 119444 h 238887"/>
                <a:gd name="connsiteX1" fmla="*/ 119444 w 238887"/>
                <a:gd name="connsiteY1" fmla="*/ 238887 h 238887"/>
                <a:gd name="connsiteX2" fmla="*/ 0 w 238887"/>
                <a:gd name="connsiteY2" fmla="*/ 119444 h 238887"/>
                <a:gd name="connsiteX3" fmla="*/ 119444 w 238887"/>
                <a:gd name="connsiteY3" fmla="*/ 0 h 238887"/>
                <a:gd name="connsiteX4" fmla="*/ 238887 w 238887"/>
                <a:gd name="connsiteY4" fmla="*/ 119444 h 23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887" h="238887">
                  <a:moveTo>
                    <a:pt x="238887" y="119444"/>
                  </a:moveTo>
                  <a:cubicBezTo>
                    <a:pt x="238887" y="185410"/>
                    <a:pt x="185410" y="238887"/>
                    <a:pt x="119444" y="238887"/>
                  </a:cubicBezTo>
                  <a:cubicBezTo>
                    <a:pt x="53477" y="238887"/>
                    <a:pt x="0" y="185410"/>
                    <a:pt x="0" y="119444"/>
                  </a:cubicBezTo>
                  <a:cubicBezTo>
                    <a:pt x="0" y="53477"/>
                    <a:pt x="53477" y="0"/>
                    <a:pt x="119444" y="0"/>
                  </a:cubicBezTo>
                  <a:cubicBezTo>
                    <a:pt x="185410" y="0"/>
                    <a:pt x="238887" y="53477"/>
                    <a:pt x="238887" y="119444"/>
                  </a:cubicBezTo>
                  <a:close/>
                </a:path>
              </a:pathLst>
            </a:custGeom>
            <a:noFill/>
            <a:ln w="9525" cap="sq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64" name="Gráfico 302">
            <a:extLst>
              <a:ext uri="{FF2B5EF4-FFF2-40B4-BE49-F238E27FC236}">
                <a16:creationId xmlns:a16="http://schemas.microsoft.com/office/drawing/2014/main" id="{B185F71C-FEF0-4915-B71E-EE27782BFFE9}"/>
              </a:ext>
            </a:extLst>
          </p:cNvPr>
          <p:cNvGrpSpPr>
            <a:grpSpLocks noChangeAspect="1"/>
          </p:cNvGrpSpPr>
          <p:nvPr/>
        </p:nvGrpSpPr>
        <p:grpSpPr>
          <a:xfrm>
            <a:off x="1209709" y="3797073"/>
            <a:ext cx="457200" cy="443345"/>
            <a:chOff x="11823277" y="6443285"/>
            <a:chExt cx="314325" cy="304800"/>
          </a:xfrm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F64AB473-82D0-4929-8BD6-022FC0CBB70D}"/>
                </a:ext>
              </a:extLst>
            </p:cNvPr>
            <p:cNvSpPr/>
            <p:nvPr/>
          </p:nvSpPr>
          <p:spPr>
            <a:xfrm rot="-1903200">
              <a:off x="11852965" y="6473977"/>
              <a:ext cx="238887" cy="238887"/>
            </a:xfrm>
            <a:custGeom>
              <a:avLst/>
              <a:gdLst>
                <a:gd name="connsiteX0" fmla="*/ 238887 w 238887"/>
                <a:gd name="connsiteY0" fmla="*/ 119444 h 238887"/>
                <a:gd name="connsiteX1" fmla="*/ 119444 w 238887"/>
                <a:gd name="connsiteY1" fmla="*/ 238887 h 238887"/>
                <a:gd name="connsiteX2" fmla="*/ 0 w 238887"/>
                <a:gd name="connsiteY2" fmla="*/ 119444 h 238887"/>
                <a:gd name="connsiteX3" fmla="*/ 119444 w 238887"/>
                <a:gd name="connsiteY3" fmla="*/ 0 h 238887"/>
                <a:gd name="connsiteX4" fmla="*/ 238887 w 238887"/>
                <a:gd name="connsiteY4" fmla="*/ 119444 h 23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887" h="238887">
                  <a:moveTo>
                    <a:pt x="238887" y="119444"/>
                  </a:moveTo>
                  <a:cubicBezTo>
                    <a:pt x="238887" y="185410"/>
                    <a:pt x="185410" y="238887"/>
                    <a:pt x="119444" y="238887"/>
                  </a:cubicBezTo>
                  <a:cubicBezTo>
                    <a:pt x="53477" y="238887"/>
                    <a:pt x="0" y="185410"/>
                    <a:pt x="0" y="119444"/>
                  </a:cubicBezTo>
                  <a:cubicBezTo>
                    <a:pt x="0" y="53477"/>
                    <a:pt x="53477" y="0"/>
                    <a:pt x="119444" y="0"/>
                  </a:cubicBezTo>
                  <a:cubicBezTo>
                    <a:pt x="185410" y="0"/>
                    <a:pt x="238887" y="53477"/>
                    <a:pt x="238887" y="119444"/>
                  </a:cubicBez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36E6E44-DD6F-40A6-AAE7-7FABB46345F9}"/>
                </a:ext>
              </a:extLst>
            </p:cNvPr>
            <p:cNvSpPr/>
            <p:nvPr/>
          </p:nvSpPr>
          <p:spPr>
            <a:xfrm>
              <a:off x="11913764" y="6502720"/>
              <a:ext cx="117929" cy="181356"/>
            </a:xfrm>
            <a:custGeom>
              <a:avLst/>
              <a:gdLst>
                <a:gd name="connsiteX0" fmla="*/ 72200 w 117929"/>
                <a:gd name="connsiteY0" fmla="*/ 161830 h 181356"/>
                <a:gd name="connsiteX1" fmla="*/ 72200 w 117929"/>
                <a:gd name="connsiteY1" fmla="*/ 181356 h 181356"/>
                <a:gd name="connsiteX2" fmla="*/ 50483 w 117929"/>
                <a:gd name="connsiteY2" fmla="*/ 181356 h 181356"/>
                <a:gd name="connsiteX3" fmla="*/ 50483 w 117929"/>
                <a:gd name="connsiteY3" fmla="*/ 160401 h 181356"/>
                <a:gd name="connsiteX4" fmla="*/ 0 w 117929"/>
                <a:gd name="connsiteY4" fmla="*/ 140589 h 181356"/>
                <a:gd name="connsiteX5" fmla="*/ 16573 w 117929"/>
                <a:gd name="connsiteY5" fmla="*/ 116300 h 181356"/>
                <a:gd name="connsiteX6" fmla="*/ 50959 w 117929"/>
                <a:gd name="connsiteY6" fmla="*/ 133445 h 181356"/>
                <a:gd name="connsiteX7" fmla="*/ 50959 w 117929"/>
                <a:gd name="connsiteY7" fmla="*/ 99441 h 181356"/>
                <a:gd name="connsiteX8" fmla="*/ 36385 w 117929"/>
                <a:gd name="connsiteY8" fmla="*/ 94488 h 181356"/>
                <a:gd name="connsiteX9" fmla="*/ 14764 w 117929"/>
                <a:gd name="connsiteY9" fmla="*/ 80963 h 181356"/>
                <a:gd name="connsiteX10" fmla="*/ 20897 w 117929"/>
                <a:gd name="connsiteY10" fmla="*/ 22824 h 181356"/>
                <a:gd name="connsiteX11" fmla="*/ 23813 w 117929"/>
                <a:gd name="connsiteY11" fmla="*/ 20669 h 181356"/>
                <a:gd name="connsiteX12" fmla="*/ 50483 w 117929"/>
                <a:gd name="connsiteY12" fmla="*/ 12002 h 181356"/>
                <a:gd name="connsiteX13" fmla="*/ 50483 w 117929"/>
                <a:gd name="connsiteY13" fmla="*/ 0 h 181356"/>
                <a:gd name="connsiteX14" fmla="*/ 72200 w 117929"/>
                <a:gd name="connsiteY14" fmla="*/ 0 h 181356"/>
                <a:gd name="connsiteX15" fmla="*/ 72200 w 117929"/>
                <a:gd name="connsiteY15" fmla="*/ 12668 h 181356"/>
                <a:gd name="connsiteX16" fmla="*/ 111919 w 117929"/>
                <a:gd name="connsiteY16" fmla="*/ 28289 h 181356"/>
                <a:gd name="connsiteX17" fmla="*/ 97822 w 117929"/>
                <a:gd name="connsiteY17" fmla="*/ 53150 h 181356"/>
                <a:gd name="connsiteX18" fmla="*/ 71438 w 117929"/>
                <a:gd name="connsiteY18" fmla="*/ 40672 h 181356"/>
                <a:gd name="connsiteX19" fmla="*/ 71438 w 117929"/>
                <a:gd name="connsiteY19" fmla="*/ 48387 h 181356"/>
                <a:gd name="connsiteX20" fmla="*/ 71438 w 117929"/>
                <a:gd name="connsiteY20" fmla="*/ 68866 h 181356"/>
                <a:gd name="connsiteX21" fmla="*/ 74759 w 117929"/>
                <a:gd name="connsiteY21" fmla="*/ 73937 h 181356"/>
                <a:gd name="connsiteX22" fmla="*/ 75248 w 117929"/>
                <a:gd name="connsiteY22" fmla="*/ 74009 h 181356"/>
                <a:gd name="connsiteX23" fmla="*/ 99441 w 117929"/>
                <a:gd name="connsiteY23" fmla="*/ 84201 h 181356"/>
                <a:gd name="connsiteX24" fmla="*/ 117539 w 117929"/>
                <a:gd name="connsiteY24" fmla="*/ 122301 h 181356"/>
                <a:gd name="connsiteX25" fmla="*/ 94869 w 117929"/>
                <a:gd name="connsiteY25" fmla="*/ 154877 h 181356"/>
                <a:gd name="connsiteX26" fmla="*/ 72200 w 117929"/>
                <a:gd name="connsiteY26" fmla="*/ 161830 h 181356"/>
                <a:gd name="connsiteX27" fmla="*/ 71438 w 117929"/>
                <a:gd name="connsiteY27" fmla="*/ 133922 h 181356"/>
                <a:gd name="connsiteX28" fmla="*/ 74390 w 117929"/>
                <a:gd name="connsiteY28" fmla="*/ 133922 h 181356"/>
                <a:gd name="connsiteX29" fmla="*/ 86654 w 117929"/>
                <a:gd name="connsiteY29" fmla="*/ 119418 h 181356"/>
                <a:gd name="connsiteX30" fmla="*/ 85916 w 117929"/>
                <a:gd name="connsiteY30" fmla="*/ 116015 h 181356"/>
                <a:gd name="connsiteX31" fmla="*/ 71723 w 117929"/>
                <a:gd name="connsiteY31" fmla="*/ 104870 h 181356"/>
                <a:gd name="connsiteX32" fmla="*/ 71723 w 117929"/>
                <a:gd name="connsiteY32" fmla="*/ 107061 h 181356"/>
                <a:gd name="connsiteX33" fmla="*/ 51340 w 117929"/>
                <a:gd name="connsiteY33" fmla="*/ 38672 h 181356"/>
                <a:gd name="connsiteX34" fmla="*/ 37052 w 117929"/>
                <a:gd name="connsiteY34" fmla="*/ 50483 h 181356"/>
                <a:gd name="connsiteX35" fmla="*/ 51340 w 117929"/>
                <a:gd name="connsiteY35" fmla="*/ 66866 h 18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929" h="181356">
                  <a:moveTo>
                    <a:pt x="72200" y="161830"/>
                  </a:moveTo>
                  <a:lnTo>
                    <a:pt x="72200" y="181356"/>
                  </a:lnTo>
                  <a:lnTo>
                    <a:pt x="50483" y="181356"/>
                  </a:lnTo>
                  <a:lnTo>
                    <a:pt x="50483" y="160401"/>
                  </a:lnTo>
                  <a:cubicBezTo>
                    <a:pt x="32250" y="158173"/>
                    <a:pt x="14881" y="151356"/>
                    <a:pt x="0" y="140589"/>
                  </a:cubicBezTo>
                  <a:lnTo>
                    <a:pt x="16573" y="116300"/>
                  </a:lnTo>
                  <a:cubicBezTo>
                    <a:pt x="26631" y="124480"/>
                    <a:pt x="38373" y="130335"/>
                    <a:pt x="50959" y="133445"/>
                  </a:cubicBezTo>
                  <a:lnTo>
                    <a:pt x="50959" y="99441"/>
                  </a:lnTo>
                  <a:cubicBezTo>
                    <a:pt x="46196" y="97822"/>
                    <a:pt x="41434" y="96298"/>
                    <a:pt x="36385" y="94488"/>
                  </a:cubicBezTo>
                  <a:cubicBezTo>
                    <a:pt x="28231" y="91709"/>
                    <a:pt x="20830" y="87079"/>
                    <a:pt x="14764" y="80963"/>
                  </a:cubicBezTo>
                  <a:cubicBezTo>
                    <a:pt x="403" y="63215"/>
                    <a:pt x="3149" y="37185"/>
                    <a:pt x="20897" y="22824"/>
                  </a:cubicBezTo>
                  <a:cubicBezTo>
                    <a:pt x="21837" y="22063"/>
                    <a:pt x="22810" y="21344"/>
                    <a:pt x="23813" y="20669"/>
                  </a:cubicBezTo>
                  <a:cubicBezTo>
                    <a:pt x="31956" y="15853"/>
                    <a:pt x="41063" y="12893"/>
                    <a:pt x="50483" y="12002"/>
                  </a:cubicBezTo>
                  <a:lnTo>
                    <a:pt x="50483" y="0"/>
                  </a:lnTo>
                  <a:lnTo>
                    <a:pt x="72200" y="0"/>
                  </a:lnTo>
                  <a:lnTo>
                    <a:pt x="72200" y="12668"/>
                  </a:lnTo>
                  <a:cubicBezTo>
                    <a:pt x="86529" y="14503"/>
                    <a:pt x="100178" y="19871"/>
                    <a:pt x="111919" y="28289"/>
                  </a:cubicBezTo>
                  <a:lnTo>
                    <a:pt x="97822" y="53150"/>
                  </a:lnTo>
                  <a:cubicBezTo>
                    <a:pt x="89742" y="47621"/>
                    <a:pt x="80837" y="43410"/>
                    <a:pt x="71438" y="40672"/>
                  </a:cubicBezTo>
                  <a:lnTo>
                    <a:pt x="71438" y="48387"/>
                  </a:lnTo>
                  <a:cubicBezTo>
                    <a:pt x="71438" y="55245"/>
                    <a:pt x="71438" y="62008"/>
                    <a:pt x="71438" y="68866"/>
                  </a:cubicBezTo>
                  <a:cubicBezTo>
                    <a:pt x="70955" y="71183"/>
                    <a:pt x="72441" y="73453"/>
                    <a:pt x="74759" y="73937"/>
                  </a:cubicBezTo>
                  <a:cubicBezTo>
                    <a:pt x="74920" y="73970"/>
                    <a:pt x="75084" y="73994"/>
                    <a:pt x="75248" y="74009"/>
                  </a:cubicBezTo>
                  <a:cubicBezTo>
                    <a:pt x="83794" y="76124"/>
                    <a:pt x="91957" y="79562"/>
                    <a:pt x="99441" y="84201"/>
                  </a:cubicBezTo>
                  <a:cubicBezTo>
                    <a:pt x="112594" y="92099"/>
                    <a:pt x="119727" y="107115"/>
                    <a:pt x="117539" y="122301"/>
                  </a:cubicBezTo>
                  <a:cubicBezTo>
                    <a:pt x="116925" y="136632"/>
                    <a:pt x="108094" y="149322"/>
                    <a:pt x="94869" y="154877"/>
                  </a:cubicBezTo>
                  <a:cubicBezTo>
                    <a:pt x="87449" y="157618"/>
                    <a:pt x="79880" y="159939"/>
                    <a:pt x="72200" y="161830"/>
                  </a:cubicBezTo>
                  <a:close/>
                  <a:moveTo>
                    <a:pt x="71438" y="133922"/>
                  </a:moveTo>
                  <a:lnTo>
                    <a:pt x="74390" y="133922"/>
                  </a:lnTo>
                  <a:cubicBezTo>
                    <a:pt x="81782" y="133302"/>
                    <a:pt x="87272" y="126809"/>
                    <a:pt x="86654" y="119418"/>
                  </a:cubicBezTo>
                  <a:cubicBezTo>
                    <a:pt x="86557" y="118256"/>
                    <a:pt x="86308" y="117112"/>
                    <a:pt x="85916" y="116015"/>
                  </a:cubicBezTo>
                  <a:cubicBezTo>
                    <a:pt x="83630" y="109442"/>
                    <a:pt x="77629" y="107347"/>
                    <a:pt x="71723" y="104870"/>
                  </a:cubicBezTo>
                  <a:cubicBezTo>
                    <a:pt x="71723" y="105823"/>
                    <a:pt x="71723" y="106490"/>
                    <a:pt x="71723" y="107061"/>
                  </a:cubicBezTo>
                  <a:close/>
                  <a:moveTo>
                    <a:pt x="51340" y="38672"/>
                  </a:moveTo>
                  <a:cubicBezTo>
                    <a:pt x="42958" y="39243"/>
                    <a:pt x="37433" y="43720"/>
                    <a:pt x="37052" y="50483"/>
                  </a:cubicBezTo>
                  <a:cubicBezTo>
                    <a:pt x="36507" y="58941"/>
                    <a:pt x="42886" y="66255"/>
                    <a:pt x="51340" y="66866"/>
                  </a:cubicBez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0172F0B-5164-4539-83C2-E9929DC160CA}"/>
              </a:ext>
            </a:extLst>
          </p:cNvPr>
          <p:cNvGrpSpPr>
            <a:grpSpLocks noChangeAspect="1"/>
          </p:cNvGrpSpPr>
          <p:nvPr/>
        </p:nvGrpSpPr>
        <p:grpSpPr>
          <a:xfrm>
            <a:off x="3580196" y="2181561"/>
            <a:ext cx="347294" cy="347472"/>
            <a:chOff x="5354620" y="3306264"/>
            <a:chExt cx="238887" cy="239010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E170625B-E611-4524-90D0-AE0F6AD0E8DB}"/>
                </a:ext>
              </a:extLst>
            </p:cNvPr>
            <p:cNvSpPr/>
            <p:nvPr/>
          </p:nvSpPr>
          <p:spPr>
            <a:xfrm rot="19696800">
              <a:off x="5354620" y="3306264"/>
              <a:ext cx="238887" cy="238887"/>
            </a:xfrm>
            <a:custGeom>
              <a:avLst/>
              <a:gdLst>
                <a:gd name="connsiteX0" fmla="*/ 238887 w 238887"/>
                <a:gd name="connsiteY0" fmla="*/ 119444 h 238887"/>
                <a:gd name="connsiteX1" fmla="*/ 119444 w 238887"/>
                <a:gd name="connsiteY1" fmla="*/ 238887 h 238887"/>
                <a:gd name="connsiteX2" fmla="*/ 0 w 238887"/>
                <a:gd name="connsiteY2" fmla="*/ 119444 h 238887"/>
                <a:gd name="connsiteX3" fmla="*/ 119444 w 238887"/>
                <a:gd name="connsiteY3" fmla="*/ 0 h 238887"/>
                <a:gd name="connsiteX4" fmla="*/ 238887 w 238887"/>
                <a:gd name="connsiteY4" fmla="*/ 119444 h 23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887" h="238887">
                  <a:moveTo>
                    <a:pt x="238887" y="119444"/>
                  </a:moveTo>
                  <a:cubicBezTo>
                    <a:pt x="238887" y="185410"/>
                    <a:pt x="185410" y="238887"/>
                    <a:pt x="119444" y="238887"/>
                  </a:cubicBezTo>
                  <a:cubicBezTo>
                    <a:pt x="53477" y="238887"/>
                    <a:pt x="0" y="185410"/>
                    <a:pt x="0" y="119444"/>
                  </a:cubicBezTo>
                  <a:cubicBezTo>
                    <a:pt x="0" y="53477"/>
                    <a:pt x="53477" y="0"/>
                    <a:pt x="119444" y="0"/>
                  </a:cubicBezTo>
                  <a:cubicBezTo>
                    <a:pt x="185410" y="0"/>
                    <a:pt x="238887" y="53477"/>
                    <a:pt x="238887" y="119444"/>
                  </a:cubicBezTo>
                  <a:close/>
                </a:path>
              </a:pathLst>
            </a:custGeom>
            <a:noFill/>
            <a:ln w="9525" cap="sq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2A62EB2-ED88-448B-83FB-2699F3F4800B}"/>
                </a:ext>
              </a:extLst>
            </p:cNvPr>
            <p:cNvSpPr/>
            <p:nvPr/>
          </p:nvSpPr>
          <p:spPr>
            <a:xfrm>
              <a:off x="5467209" y="3362775"/>
              <a:ext cx="13811" cy="182499"/>
            </a:xfrm>
            <a:custGeom>
              <a:avLst/>
              <a:gdLst>
                <a:gd name="connsiteX0" fmla="*/ 13811 w 13811"/>
                <a:gd name="connsiteY0" fmla="*/ 182499 h 182499"/>
                <a:gd name="connsiteX1" fmla="*/ 0 w 13811"/>
                <a:gd name="connsiteY1" fmla="*/ 182499 h 182499"/>
                <a:gd name="connsiteX2" fmla="*/ 0 w 13811"/>
                <a:gd name="connsiteY2" fmla="*/ 6953 h 182499"/>
                <a:gd name="connsiteX3" fmla="*/ 6858 w 13811"/>
                <a:gd name="connsiteY3" fmla="*/ 0 h 182499"/>
                <a:gd name="connsiteX4" fmla="*/ 6858 w 13811"/>
                <a:gd name="connsiteY4" fmla="*/ 0 h 182499"/>
                <a:gd name="connsiteX5" fmla="*/ 13811 w 13811"/>
                <a:gd name="connsiteY5" fmla="*/ 6953 h 18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11" h="182499">
                  <a:moveTo>
                    <a:pt x="13811" y="182499"/>
                  </a:moveTo>
                  <a:lnTo>
                    <a:pt x="0" y="182499"/>
                  </a:lnTo>
                  <a:lnTo>
                    <a:pt x="0" y="6953"/>
                  </a:lnTo>
                  <a:cubicBezTo>
                    <a:pt x="0" y="3150"/>
                    <a:pt x="3055" y="52"/>
                    <a:pt x="6858" y="0"/>
                  </a:cubicBezTo>
                  <a:lnTo>
                    <a:pt x="6858" y="0"/>
                  </a:lnTo>
                  <a:cubicBezTo>
                    <a:pt x="10698" y="0"/>
                    <a:pt x="13811" y="3113"/>
                    <a:pt x="13811" y="695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2F27BEB3-BAF0-44B8-BCDC-B62E48965DAF}"/>
                </a:ext>
              </a:extLst>
            </p:cNvPr>
            <p:cNvSpPr/>
            <p:nvPr/>
          </p:nvSpPr>
          <p:spPr>
            <a:xfrm>
              <a:off x="5501118" y="3432308"/>
              <a:ext cx="59245" cy="32766"/>
            </a:xfrm>
            <a:custGeom>
              <a:avLst/>
              <a:gdLst>
                <a:gd name="connsiteX0" fmla="*/ 0 w 59245"/>
                <a:gd name="connsiteY0" fmla="*/ 0 h 32766"/>
                <a:gd name="connsiteX1" fmla="*/ 59246 w 59245"/>
                <a:gd name="connsiteY1" fmla="*/ 0 h 32766"/>
                <a:gd name="connsiteX2" fmla="*/ 59246 w 59245"/>
                <a:gd name="connsiteY2" fmla="*/ 0 h 32766"/>
                <a:gd name="connsiteX3" fmla="*/ 59246 w 59245"/>
                <a:gd name="connsiteY3" fmla="*/ 3143 h 32766"/>
                <a:gd name="connsiteX4" fmla="*/ 29623 w 59245"/>
                <a:gd name="connsiteY4" fmla="*/ 32766 h 32766"/>
                <a:gd name="connsiteX5" fmla="*/ 29623 w 59245"/>
                <a:gd name="connsiteY5" fmla="*/ 32766 h 32766"/>
                <a:gd name="connsiteX6" fmla="*/ 0 w 59245"/>
                <a:gd name="connsiteY6" fmla="*/ 3143 h 32766"/>
                <a:gd name="connsiteX7" fmla="*/ 0 w 59245"/>
                <a:gd name="connsiteY7" fmla="*/ 0 h 32766"/>
                <a:gd name="connsiteX8" fmla="*/ 0 w 59245"/>
                <a:gd name="connsiteY8" fmla="*/ 0 h 32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45" h="32766">
                  <a:moveTo>
                    <a:pt x="0" y="0"/>
                  </a:moveTo>
                  <a:lnTo>
                    <a:pt x="59246" y="0"/>
                  </a:lnTo>
                  <a:lnTo>
                    <a:pt x="59246" y="0"/>
                  </a:lnTo>
                  <a:lnTo>
                    <a:pt x="59246" y="3143"/>
                  </a:lnTo>
                  <a:cubicBezTo>
                    <a:pt x="59246" y="19503"/>
                    <a:pt x="45983" y="32766"/>
                    <a:pt x="29623" y="32766"/>
                  </a:cubicBezTo>
                  <a:lnTo>
                    <a:pt x="29623" y="32766"/>
                  </a:lnTo>
                  <a:cubicBezTo>
                    <a:pt x="13263" y="32766"/>
                    <a:pt x="0" y="19503"/>
                    <a:pt x="0" y="3143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BCAAF16-1F05-4406-80F5-531BBB772C4E}"/>
                </a:ext>
              </a:extLst>
            </p:cNvPr>
            <p:cNvSpPr/>
            <p:nvPr/>
          </p:nvSpPr>
          <p:spPr>
            <a:xfrm>
              <a:off x="5509024" y="3383921"/>
              <a:ext cx="43434" cy="48386"/>
            </a:xfrm>
            <a:custGeom>
              <a:avLst/>
              <a:gdLst>
                <a:gd name="connsiteX0" fmla="*/ 0 w 43434"/>
                <a:gd name="connsiteY0" fmla="*/ 48387 h 48386"/>
                <a:gd name="connsiteX1" fmla="*/ 21717 w 43434"/>
                <a:gd name="connsiteY1" fmla="*/ 0 h 48386"/>
                <a:gd name="connsiteX2" fmla="*/ 43434 w 43434"/>
                <a:gd name="connsiteY2" fmla="*/ 48387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434" h="48386">
                  <a:moveTo>
                    <a:pt x="0" y="48387"/>
                  </a:moveTo>
                  <a:lnTo>
                    <a:pt x="21717" y="0"/>
                  </a:lnTo>
                  <a:lnTo>
                    <a:pt x="43434" y="48387"/>
                  </a:lnTo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AEFB2EA-B7F1-4FF5-9D33-86BFEFF8C6FF}"/>
                </a:ext>
              </a:extLst>
            </p:cNvPr>
            <p:cNvSpPr/>
            <p:nvPr/>
          </p:nvSpPr>
          <p:spPr>
            <a:xfrm rot="10800000">
              <a:off x="5387771" y="3432689"/>
              <a:ext cx="59245" cy="32384"/>
            </a:xfrm>
            <a:custGeom>
              <a:avLst/>
              <a:gdLst>
                <a:gd name="connsiteX0" fmla="*/ 29623 w 59245"/>
                <a:gd name="connsiteY0" fmla="*/ 0 h 32384"/>
                <a:gd name="connsiteX1" fmla="*/ 29623 w 59245"/>
                <a:gd name="connsiteY1" fmla="*/ 0 h 32384"/>
                <a:gd name="connsiteX2" fmla="*/ 59245 w 59245"/>
                <a:gd name="connsiteY2" fmla="*/ 29242 h 32384"/>
                <a:gd name="connsiteX3" fmla="*/ 59245 w 59245"/>
                <a:gd name="connsiteY3" fmla="*/ 32385 h 32384"/>
                <a:gd name="connsiteX4" fmla="*/ 59245 w 59245"/>
                <a:gd name="connsiteY4" fmla="*/ 32385 h 32384"/>
                <a:gd name="connsiteX5" fmla="*/ 0 w 59245"/>
                <a:gd name="connsiteY5" fmla="*/ 32385 h 32384"/>
                <a:gd name="connsiteX6" fmla="*/ 0 w 59245"/>
                <a:gd name="connsiteY6" fmla="*/ 32385 h 32384"/>
                <a:gd name="connsiteX7" fmla="*/ 0 w 59245"/>
                <a:gd name="connsiteY7" fmla="*/ 29242 h 32384"/>
                <a:gd name="connsiteX8" fmla="*/ 29623 w 59245"/>
                <a:gd name="connsiteY8" fmla="*/ 0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245" h="32384">
                  <a:moveTo>
                    <a:pt x="29623" y="0"/>
                  </a:moveTo>
                  <a:lnTo>
                    <a:pt x="29623" y="0"/>
                  </a:lnTo>
                  <a:cubicBezTo>
                    <a:pt x="45835" y="-1"/>
                    <a:pt x="59037" y="13030"/>
                    <a:pt x="59245" y="29242"/>
                  </a:cubicBezTo>
                  <a:lnTo>
                    <a:pt x="59245" y="32385"/>
                  </a:lnTo>
                  <a:lnTo>
                    <a:pt x="59245" y="32385"/>
                  </a:lnTo>
                  <a:lnTo>
                    <a:pt x="0" y="32385"/>
                  </a:lnTo>
                  <a:lnTo>
                    <a:pt x="0" y="32385"/>
                  </a:lnTo>
                  <a:lnTo>
                    <a:pt x="0" y="29242"/>
                  </a:lnTo>
                  <a:cubicBezTo>
                    <a:pt x="208" y="13030"/>
                    <a:pt x="13410" y="-1"/>
                    <a:pt x="29623" y="0"/>
                  </a:cubicBezTo>
                  <a:close/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65519ED-280F-48D8-B485-C751703A88B2}"/>
                </a:ext>
              </a:extLst>
            </p:cNvPr>
            <p:cNvSpPr/>
            <p:nvPr/>
          </p:nvSpPr>
          <p:spPr>
            <a:xfrm>
              <a:off x="5395677" y="3383921"/>
              <a:ext cx="43433" cy="48386"/>
            </a:xfrm>
            <a:custGeom>
              <a:avLst/>
              <a:gdLst>
                <a:gd name="connsiteX0" fmla="*/ 43434 w 43433"/>
                <a:gd name="connsiteY0" fmla="*/ 48387 h 48386"/>
                <a:gd name="connsiteX1" fmla="*/ 21717 w 43433"/>
                <a:gd name="connsiteY1" fmla="*/ 0 h 48386"/>
                <a:gd name="connsiteX2" fmla="*/ 0 w 43433"/>
                <a:gd name="connsiteY2" fmla="*/ 48387 h 48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433" h="48386">
                  <a:moveTo>
                    <a:pt x="43434" y="48387"/>
                  </a:moveTo>
                  <a:lnTo>
                    <a:pt x="21717" y="0"/>
                  </a:lnTo>
                  <a:lnTo>
                    <a:pt x="0" y="48387"/>
                  </a:lnTo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17240A1-EEBA-42B6-A534-C8F43032EA5D}"/>
                </a:ext>
              </a:extLst>
            </p:cNvPr>
            <p:cNvSpPr/>
            <p:nvPr/>
          </p:nvSpPr>
          <p:spPr>
            <a:xfrm>
              <a:off x="5481021" y="3372205"/>
              <a:ext cx="79343" cy="11429"/>
            </a:xfrm>
            <a:custGeom>
              <a:avLst/>
              <a:gdLst>
                <a:gd name="connsiteX0" fmla="*/ 0 w 79343"/>
                <a:gd name="connsiteY0" fmla="*/ 0 h 11429"/>
                <a:gd name="connsiteX1" fmla="*/ 79343 w 79343"/>
                <a:gd name="connsiteY1" fmla="*/ 0 h 11429"/>
                <a:gd name="connsiteX2" fmla="*/ 74581 w 79343"/>
                <a:gd name="connsiteY2" fmla="*/ 6763 h 11429"/>
                <a:gd name="connsiteX3" fmla="*/ 62198 w 79343"/>
                <a:gd name="connsiteY3" fmla="*/ 10382 h 11429"/>
                <a:gd name="connsiteX4" fmla="*/ 0 w 79343"/>
                <a:gd name="connsiteY4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343" h="11429">
                  <a:moveTo>
                    <a:pt x="0" y="0"/>
                  </a:moveTo>
                  <a:lnTo>
                    <a:pt x="79343" y="0"/>
                  </a:lnTo>
                  <a:cubicBezTo>
                    <a:pt x="78955" y="2897"/>
                    <a:pt x="77176" y="5421"/>
                    <a:pt x="74581" y="6763"/>
                  </a:cubicBezTo>
                  <a:cubicBezTo>
                    <a:pt x="70910" y="9185"/>
                    <a:pt x="66596" y="10446"/>
                    <a:pt x="62198" y="10382"/>
                  </a:cubicBezTo>
                  <a:lnTo>
                    <a:pt x="0" y="11430"/>
                  </a:lnTo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47C9FD1-9787-4567-A860-924FAE121195}"/>
                </a:ext>
              </a:extLst>
            </p:cNvPr>
            <p:cNvSpPr/>
            <p:nvPr/>
          </p:nvSpPr>
          <p:spPr>
            <a:xfrm>
              <a:off x="5387771" y="3372205"/>
              <a:ext cx="79438" cy="11429"/>
            </a:xfrm>
            <a:custGeom>
              <a:avLst/>
              <a:gdLst>
                <a:gd name="connsiteX0" fmla="*/ 79439 w 79438"/>
                <a:gd name="connsiteY0" fmla="*/ 0 h 11429"/>
                <a:gd name="connsiteX1" fmla="*/ 0 w 79438"/>
                <a:gd name="connsiteY1" fmla="*/ 0 h 11429"/>
                <a:gd name="connsiteX2" fmla="*/ 4763 w 79438"/>
                <a:gd name="connsiteY2" fmla="*/ 6763 h 11429"/>
                <a:gd name="connsiteX3" fmla="*/ 17145 w 79438"/>
                <a:gd name="connsiteY3" fmla="*/ 10382 h 11429"/>
                <a:gd name="connsiteX4" fmla="*/ 79439 w 79438"/>
                <a:gd name="connsiteY4" fmla="*/ 11430 h 1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438" h="11429">
                  <a:moveTo>
                    <a:pt x="79439" y="0"/>
                  </a:moveTo>
                  <a:lnTo>
                    <a:pt x="0" y="0"/>
                  </a:lnTo>
                  <a:cubicBezTo>
                    <a:pt x="475" y="2862"/>
                    <a:pt x="2228" y="5351"/>
                    <a:pt x="4763" y="6763"/>
                  </a:cubicBezTo>
                  <a:cubicBezTo>
                    <a:pt x="8433" y="9185"/>
                    <a:pt x="12748" y="10446"/>
                    <a:pt x="17145" y="10382"/>
                  </a:cubicBezTo>
                  <a:lnTo>
                    <a:pt x="79439" y="11430"/>
                  </a:lnTo>
                </a:path>
              </a:pathLst>
            </a:custGeom>
            <a:noFill/>
            <a:ln w="9525" cap="flat">
              <a:solidFill>
                <a:srgbClr val="61A60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sp>
        <p:nvSpPr>
          <p:cNvPr id="76" name="Text Placeholder 138">
            <a:extLst>
              <a:ext uri="{FF2B5EF4-FFF2-40B4-BE49-F238E27FC236}">
                <a16:creationId xmlns:a16="http://schemas.microsoft.com/office/drawing/2014/main" id="{4138B18C-9D53-4D7C-9A42-D771D1A33E24}"/>
              </a:ext>
            </a:extLst>
          </p:cNvPr>
          <p:cNvSpPr>
            <a:spLocks noGrp="1"/>
          </p:cNvSpPr>
          <p:nvPr/>
        </p:nvSpPr>
        <p:spPr>
          <a:xfrm>
            <a:off x="1758096" y="5160668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9BA89BCA-FFA8-4237-8A7E-B49C44E5E3E7}"/>
              </a:ext>
            </a:extLst>
          </p:cNvPr>
          <p:cNvSpPr>
            <a:spLocks noGrp="1"/>
          </p:cNvSpPr>
          <p:nvPr/>
        </p:nvSpPr>
        <p:spPr>
          <a:xfrm>
            <a:off x="1629317" y="4879853"/>
            <a:ext cx="2163857" cy="328054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2029/30 (NC HVDC Phase I)</a:t>
            </a:r>
          </a:p>
        </p:txBody>
      </p:sp>
      <p:sp>
        <p:nvSpPr>
          <p:cNvPr id="78" name="Text Placeholder 147">
            <a:extLst>
              <a:ext uri="{FF2B5EF4-FFF2-40B4-BE49-F238E27FC236}">
                <a16:creationId xmlns:a16="http://schemas.microsoft.com/office/drawing/2014/main" id="{5AE12AEC-53BC-4346-AEB1-6C60CE3D5A1D}"/>
              </a:ext>
            </a:extLst>
          </p:cNvPr>
          <p:cNvSpPr>
            <a:spLocks noGrp="1"/>
          </p:cNvSpPr>
          <p:nvPr/>
        </p:nvSpPr>
        <p:spPr>
          <a:xfrm>
            <a:off x="1746132" y="5160668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9" name="Text Placeholder 172">
            <a:extLst>
              <a:ext uri="{FF2B5EF4-FFF2-40B4-BE49-F238E27FC236}">
                <a16:creationId xmlns:a16="http://schemas.microsoft.com/office/drawing/2014/main" id="{A922A01E-99F4-4BBB-8EDC-C68B801A8E72}"/>
              </a:ext>
            </a:extLst>
          </p:cNvPr>
          <p:cNvSpPr>
            <a:spLocks noGrp="1"/>
          </p:cNvSpPr>
          <p:nvPr/>
        </p:nvSpPr>
        <p:spPr>
          <a:xfrm>
            <a:off x="1632192" y="4642299"/>
            <a:ext cx="2070835" cy="339315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COMMERCIAL OPERATIONS DATE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313D7EC-5BFC-4BD6-AAF2-20CABB5EA093}"/>
              </a:ext>
            </a:extLst>
          </p:cNvPr>
          <p:cNvGrpSpPr>
            <a:grpSpLocks noChangeAspect="1"/>
          </p:cNvGrpSpPr>
          <p:nvPr/>
        </p:nvGrpSpPr>
        <p:grpSpPr>
          <a:xfrm>
            <a:off x="3668704" y="4791695"/>
            <a:ext cx="347471" cy="347472"/>
            <a:chOff x="3114392" y="5359768"/>
            <a:chExt cx="315344" cy="315345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C2F4EFF8-AA5C-44AC-B2AC-8CFAA7CE45BB}"/>
                </a:ext>
              </a:extLst>
            </p:cNvPr>
            <p:cNvSpPr/>
            <p:nvPr/>
          </p:nvSpPr>
          <p:spPr>
            <a:xfrm rot="19683315">
              <a:off x="3114392" y="5359768"/>
              <a:ext cx="315344" cy="315345"/>
            </a:xfrm>
            <a:custGeom>
              <a:avLst/>
              <a:gdLst>
                <a:gd name="connsiteX0" fmla="*/ 239293 w 239292"/>
                <a:gd name="connsiteY0" fmla="*/ 119646 h 239292"/>
                <a:gd name="connsiteX1" fmla="*/ 119646 w 239292"/>
                <a:gd name="connsiteY1" fmla="*/ 239293 h 239292"/>
                <a:gd name="connsiteX2" fmla="*/ 0 w 239292"/>
                <a:gd name="connsiteY2" fmla="*/ 119646 h 239292"/>
                <a:gd name="connsiteX3" fmla="*/ 119646 w 239292"/>
                <a:gd name="connsiteY3" fmla="*/ 0 h 239292"/>
                <a:gd name="connsiteX4" fmla="*/ 239293 w 239292"/>
                <a:gd name="connsiteY4" fmla="*/ 119646 h 23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292" h="239292">
                  <a:moveTo>
                    <a:pt x="239293" y="119646"/>
                  </a:moveTo>
                  <a:cubicBezTo>
                    <a:pt x="239293" y="185725"/>
                    <a:pt x="185725" y="239293"/>
                    <a:pt x="119646" y="239293"/>
                  </a:cubicBezTo>
                  <a:cubicBezTo>
                    <a:pt x="53568" y="239293"/>
                    <a:pt x="0" y="185725"/>
                    <a:pt x="0" y="119646"/>
                  </a:cubicBezTo>
                  <a:cubicBezTo>
                    <a:pt x="0" y="53567"/>
                    <a:pt x="53568" y="0"/>
                    <a:pt x="119646" y="0"/>
                  </a:cubicBezTo>
                  <a:cubicBezTo>
                    <a:pt x="185725" y="0"/>
                    <a:pt x="239293" y="53567"/>
                    <a:pt x="239293" y="119646"/>
                  </a:cubicBezTo>
                  <a:close/>
                </a:path>
              </a:pathLst>
            </a:custGeom>
            <a:noFill/>
            <a:ln w="9541" cap="flat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E525E185-78ED-44A7-AD6D-ECB1EFE750C9}"/>
                </a:ext>
              </a:extLst>
            </p:cNvPr>
            <p:cNvSpPr/>
            <p:nvPr/>
          </p:nvSpPr>
          <p:spPr>
            <a:xfrm>
              <a:off x="3186016" y="5412021"/>
              <a:ext cx="171219" cy="216903"/>
            </a:xfrm>
            <a:custGeom>
              <a:avLst/>
              <a:gdLst>
                <a:gd name="connsiteX0" fmla="*/ 109351 w 129925"/>
                <a:gd name="connsiteY0" fmla="*/ 137065 h 164592"/>
                <a:gd name="connsiteX1" fmla="*/ 113161 w 129925"/>
                <a:gd name="connsiteY1" fmla="*/ 140208 h 164592"/>
                <a:gd name="connsiteX2" fmla="*/ 110304 w 129925"/>
                <a:gd name="connsiteY2" fmla="*/ 143637 h 164592"/>
                <a:gd name="connsiteX3" fmla="*/ 20197 w 129925"/>
                <a:gd name="connsiteY3" fmla="*/ 143637 h 164592"/>
                <a:gd name="connsiteX4" fmla="*/ 16768 w 129925"/>
                <a:gd name="connsiteY4" fmla="*/ 140208 h 164592"/>
                <a:gd name="connsiteX5" fmla="*/ 19531 w 129925"/>
                <a:gd name="connsiteY5" fmla="*/ 136874 h 164592"/>
                <a:gd name="connsiteX6" fmla="*/ 109351 w 129925"/>
                <a:gd name="connsiteY6" fmla="*/ 136874 h 164592"/>
                <a:gd name="connsiteX7" fmla="*/ 109351 w 129925"/>
                <a:gd name="connsiteY7" fmla="*/ 116491 h 164592"/>
                <a:gd name="connsiteX8" fmla="*/ 112780 w 129925"/>
                <a:gd name="connsiteY8" fmla="*/ 119920 h 164592"/>
                <a:gd name="connsiteX9" fmla="*/ 109923 w 129925"/>
                <a:gd name="connsiteY9" fmla="*/ 123349 h 164592"/>
                <a:gd name="connsiteX10" fmla="*/ 20197 w 129925"/>
                <a:gd name="connsiteY10" fmla="*/ 123349 h 164592"/>
                <a:gd name="connsiteX11" fmla="*/ 16768 w 129925"/>
                <a:gd name="connsiteY11" fmla="*/ 119920 h 164592"/>
                <a:gd name="connsiteX12" fmla="*/ 19531 w 129925"/>
                <a:gd name="connsiteY12" fmla="*/ 116586 h 164592"/>
                <a:gd name="connsiteX13" fmla="*/ 109351 w 129925"/>
                <a:gd name="connsiteY13" fmla="*/ 116586 h 164592"/>
                <a:gd name="connsiteX14" fmla="*/ 112780 w 129925"/>
                <a:gd name="connsiteY14" fmla="*/ 99346 h 164592"/>
                <a:gd name="connsiteX15" fmla="*/ 109351 w 129925"/>
                <a:gd name="connsiteY15" fmla="*/ 95917 h 164592"/>
                <a:gd name="connsiteX16" fmla="*/ 19531 w 129925"/>
                <a:gd name="connsiteY16" fmla="*/ 95917 h 164592"/>
                <a:gd name="connsiteX17" fmla="*/ 16768 w 129925"/>
                <a:gd name="connsiteY17" fmla="*/ 99251 h 164592"/>
                <a:gd name="connsiteX18" fmla="*/ 20197 w 129925"/>
                <a:gd name="connsiteY18" fmla="*/ 102680 h 164592"/>
                <a:gd name="connsiteX19" fmla="*/ 109923 w 129925"/>
                <a:gd name="connsiteY19" fmla="*/ 102680 h 164592"/>
                <a:gd name="connsiteX20" fmla="*/ 113161 w 129925"/>
                <a:gd name="connsiteY20" fmla="*/ 99346 h 164592"/>
                <a:gd name="connsiteX21" fmla="*/ 109351 w 129925"/>
                <a:gd name="connsiteY21" fmla="*/ 75438 h 164592"/>
                <a:gd name="connsiteX22" fmla="*/ 112569 w 129925"/>
                <a:gd name="connsiteY22" fmla="*/ 79066 h 164592"/>
                <a:gd name="connsiteX23" fmla="*/ 109923 w 129925"/>
                <a:gd name="connsiteY23" fmla="*/ 82201 h 164592"/>
                <a:gd name="connsiteX24" fmla="*/ 92206 w 129925"/>
                <a:gd name="connsiteY24" fmla="*/ 82201 h 164592"/>
                <a:gd name="connsiteX25" fmla="*/ 88777 w 129925"/>
                <a:gd name="connsiteY25" fmla="*/ 78772 h 164592"/>
                <a:gd name="connsiteX26" fmla="*/ 91540 w 129925"/>
                <a:gd name="connsiteY26" fmla="*/ 75343 h 164592"/>
                <a:gd name="connsiteX27" fmla="*/ 109351 w 129925"/>
                <a:gd name="connsiteY27" fmla="*/ 75343 h 164592"/>
                <a:gd name="connsiteX28" fmla="*/ 113161 w 129925"/>
                <a:gd name="connsiteY28" fmla="*/ 58293 h 164592"/>
                <a:gd name="connsiteX29" fmla="*/ 110161 w 129925"/>
                <a:gd name="connsiteY29" fmla="*/ 54483 h 164592"/>
                <a:gd name="connsiteX30" fmla="*/ 109351 w 129925"/>
                <a:gd name="connsiteY30" fmla="*/ 54483 h 164592"/>
                <a:gd name="connsiteX31" fmla="*/ 91540 w 129925"/>
                <a:gd name="connsiteY31" fmla="*/ 54483 h 164592"/>
                <a:gd name="connsiteX32" fmla="*/ 88777 w 129925"/>
                <a:gd name="connsiteY32" fmla="*/ 57912 h 164592"/>
                <a:gd name="connsiteX33" fmla="*/ 92206 w 129925"/>
                <a:gd name="connsiteY33" fmla="*/ 61341 h 164592"/>
                <a:gd name="connsiteX34" fmla="*/ 109923 w 129925"/>
                <a:gd name="connsiteY34" fmla="*/ 61341 h 164592"/>
                <a:gd name="connsiteX35" fmla="*/ 113161 w 129925"/>
                <a:gd name="connsiteY35" fmla="*/ 58293 h 164592"/>
                <a:gd name="connsiteX36" fmla="*/ 49915 w 129925"/>
                <a:gd name="connsiteY36" fmla="*/ 57626 h 164592"/>
                <a:gd name="connsiteX37" fmla="*/ 30103 w 129925"/>
                <a:gd name="connsiteY37" fmla="*/ 70866 h 164592"/>
                <a:gd name="connsiteX38" fmla="*/ 64003 w 129925"/>
                <a:gd name="connsiteY38" fmla="*/ 72628 h 164592"/>
                <a:gd name="connsiteX39" fmla="*/ 65765 w 129925"/>
                <a:gd name="connsiteY39" fmla="*/ 38729 h 164592"/>
                <a:gd name="connsiteX40" fmla="*/ 51439 w 129925"/>
                <a:gd name="connsiteY40" fmla="*/ 31052 h 164592"/>
                <a:gd name="connsiteX41" fmla="*/ 51439 w 129925"/>
                <a:gd name="connsiteY41" fmla="*/ 54483 h 164592"/>
                <a:gd name="connsiteX42" fmla="*/ 50392 w 129925"/>
                <a:gd name="connsiteY42" fmla="*/ 56864 h 164592"/>
                <a:gd name="connsiteX43" fmla="*/ 23626 w 129925"/>
                <a:gd name="connsiteY43" fmla="*/ 54483 h 164592"/>
                <a:gd name="connsiteX44" fmla="*/ 44200 w 129925"/>
                <a:gd name="connsiteY44" fmla="*/ 30671 h 164592"/>
                <a:gd name="connsiteX45" fmla="*/ 44200 w 129925"/>
                <a:gd name="connsiteY45" fmla="*/ 52578 h 164592"/>
                <a:gd name="connsiteX46" fmla="*/ 25912 w 129925"/>
                <a:gd name="connsiteY46" fmla="*/ 64770 h 164592"/>
                <a:gd name="connsiteX47" fmla="*/ 23626 w 129925"/>
                <a:gd name="connsiteY47" fmla="*/ 54483 h 164592"/>
                <a:gd name="connsiteX48" fmla="*/ 16768 w 129925"/>
                <a:gd name="connsiteY48" fmla="*/ 54483 h 164592"/>
                <a:gd name="connsiteX49" fmla="*/ 47639 w 129925"/>
                <a:gd name="connsiteY49" fmla="*/ 23441 h 164592"/>
                <a:gd name="connsiteX50" fmla="*/ 78681 w 129925"/>
                <a:gd name="connsiteY50" fmla="*/ 54312 h 164592"/>
                <a:gd name="connsiteX51" fmla="*/ 47810 w 129925"/>
                <a:gd name="connsiteY51" fmla="*/ 85354 h 164592"/>
                <a:gd name="connsiteX52" fmla="*/ 22007 w 129925"/>
                <a:gd name="connsiteY52" fmla="*/ 71628 h 164592"/>
                <a:gd name="connsiteX53" fmla="*/ 22007 w 129925"/>
                <a:gd name="connsiteY53" fmla="*/ 71628 h 164592"/>
                <a:gd name="connsiteX54" fmla="*/ 16768 w 129925"/>
                <a:gd name="connsiteY54" fmla="*/ 54483 h 164592"/>
                <a:gd name="connsiteX55" fmla="*/ 119543 w 129925"/>
                <a:gd name="connsiteY55" fmla="*/ 30194 h 164592"/>
                <a:gd name="connsiteX56" fmla="*/ 102017 w 129925"/>
                <a:gd name="connsiteY56" fmla="*/ 11144 h 164592"/>
                <a:gd name="connsiteX57" fmla="*/ 102017 w 129925"/>
                <a:gd name="connsiteY57" fmla="*/ 30194 h 164592"/>
                <a:gd name="connsiteX58" fmla="*/ 95159 w 129925"/>
                <a:gd name="connsiteY58" fmla="*/ 6858 h 164592"/>
                <a:gd name="connsiteX59" fmla="*/ 9434 w 129925"/>
                <a:gd name="connsiteY59" fmla="*/ 6858 h 164592"/>
                <a:gd name="connsiteX60" fmla="*/ 6374 w 129925"/>
                <a:gd name="connsiteY60" fmla="*/ 10082 h 164592"/>
                <a:gd name="connsiteX61" fmla="*/ 6386 w 129925"/>
                <a:gd name="connsiteY61" fmla="*/ 10287 h 164592"/>
                <a:gd name="connsiteX62" fmla="*/ 6386 w 129925"/>
                <a:gd name="connsiteY62" fmla="*/ 154305 h 164592"/>
                <a:gd name="connsiteX63" fmla="*/ 9423 w 129925"/>
                <a:gd name="connsiteY63" fmla="*/ 157733 h 164592"/>
                <a:gd name="connsiteX64" fmla="*/ 9434 w 129925"/>
                <a:gd name="connsiteY64" fmla="*/ 157734 h 164592"/>
                <a:gd name="connsiteX65" fmla="*/ 119924 w 129925"/>
                <a:gd name="connsiteY65" fmla="*/ 157734 h 164592"/>
                <a:gd name="connsiteX66" fmla="*/ 123068 w 129925"/>
                <a:gd name="connsiteY66" fmla="*/ 154305 h 164592"/>
                <a:gd name="connsiteX67" fmla="*/ 123068 w 129925"/>
                <a:gd name="connsiteY67" fmla="*/ 37433 h 164592"/>
                <a:gd name="connsiteX68" fmla="*/ 98588 w 129925"/>
                <a:gd name="connsiteY68" fmla="*/ 37433 h 164592"/>
                <a:gd name="connsiteX69" fmla="*/ 95255 w 129925"/>
                <a:gd name="connsiteY69" fmla="*/ 34576 h 164592"/>
                <a:gd name="connsiteX70" fmla="*/ 95255 w 129925"/>
                <a:gd name="connsiteY70" fmla="*/ 6858 h 164592"/>
                <a:gd name="connsiteX71" fmla="*/ 95826 w 129925"/>
                <a:gd name="connsiteY71" fmla="*/ 0 h 164592"/>
                <a:gd name="connsiteX72" fmla="*/ 9529 w 129925"/>
                <a:gd name="connsiteY72" fmla="*/ 0 h 164592"/>
                <a:gd name="connsiteX73" fmla="*/ 4 w 129925"/>
                <a:gd name="connsiteY73" fmla="*/ 10287 h 164592"/>
                <a:gd name="connsiteX74" fmla="*/ 4 w 129925"/>
                <a:gd name="connsiteY74" fmla="*/ 154305 h 164592"/>
                <a:gd name="connsiteX75" fmla="*/ 9529 w 129925"/>
                <a:gd name="connsiteY75" fmla="*/ 164592 h 164592"/>
                <a:gd name="connsiteX76" fmla="*/ 119924 w 129925"/>
                <a:gd name="connsiteY76" fmla="*/ 164592 h 164592"/>
                <a:gd name="connsiteX77" fmla="*/ 129925 w 129925"/>
                <a:gd name="connsiteY77" fmla="*/ 154305 h 164592"/>
                <a:gd name="connsiteX78" fmla="*/ 129925 w 129925"/>
                <a:gd name="connsiteY78" fmla="*/ 35433 h 164592"/>
                <a:gd name="connsiteX79" fmla="*/ 129925 w 129925"/>
                <a:gd name="connsiteY79" fmla="*/ 34290 h 164592"/>
                <a:gd name="connsiteX80" fmla="*/ 129925 w 129925"/>
                <a:gd name="connsiteY80" fmla="*/ 33719 h 164592"/>
                <a:gd name="connsiteX81" fmla="*/ 129925 w 129925"/>
                <a:gd name="connsiteY81" fmla="*/ 33052 h 164592"/>
                <a:gd name="connsiteX82" fmla="*/ 129259 w 129925"/>
                <a:gd name="connsiteY82" fmla="*/ 31623 h 164592"/>
                <a:gd name="connsiteX83" fmla="*/ 127163 w 129925"/>
                <a:gd name="connsiteY83" fmla="*/ 28194 h 164592"/>
                <a:gd name="connsiteX84" fmla="*/ 102970 w 129925"/>
                <a:gd name="connsiteY84" fmla="*/ 3048 h 164592"/>
                <a:gd name="connsiteX85" fmla="*/ 101636 w 129925"/>
                <a:gd name="connsiteY85" fmla="*/ 1905 h 164592"/>
                <a:gd name="connsiteX86" fmla="*/ 98588 w 129925"/>
                <a:gd name="connsiteY86" fmla="*/ 0 h 164592"/>
                <a:gd name="connsiteX87" fmla="*/ 95826 w 129925"/>
                <a:gd name="connsiteY87" fmla="*/ 0 h 16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29925" h="164592">
                  <a:moveTo>
                    <a:pt x="109351" y="137065"/>
                  </a:moveTo>
                  <a:cubicBezTo>
                    <a:pt x="111266" y="136898"/>
                    <a:pt x="112961" y="138297"/>
                    <a:pt x="113161" y="140208"/>
                  </a:cubicBezTo>
                  <a:cubicBezTo>
                    <a:pt x="113146" y="141886"/>
                    <a:pt x="111951" y="143320"/>
                    <a:pt x="110304" y="143637"/>
                  </a:cubicBezTo>
                  <a:lnTo>
                    <a:pt x="20197" y="143637"/>
                  </a:lnTo>
                  <a:cubicBezTo>
                    <a:pt x="18304" y="143637"/>
                    <a:pt x="16768" y="142102"/>
                    <a:pt x="16768" y="140208"/>
                  </a:cubicBezTo>
                  <a:cubicBezTo>
                    <a:pt x="16745" y="138569"/>
                    <a:pt x="17915" y="137155"/>
                    <a:pt x="19531" y="136874"/>
                  </a:cubicBezTo>
                  <a:lnTo>
                    <a:pt x="109351" y="136874"/>
                  </a:lnTo>
                  <a:close/>
                  <a:moveTo>
                    <a:pt x="109351" y="116491"/>
                  </a:moveTo>
                  <a:cubicBezTo>
                    <a:pt x="111224" y="116540"/>
                    <a:pt x="112731" y="118047"/>
                    <a:pt x="112780" y="119920"/>
                  </a:cubicBezTo>
                  <a:cubicBezTo>
                    <a:pt x="112765" y="121597"/>
                    <a:pt x="111570" y="123032"/>
                    <a:pt x="109923" y="123349"/>
                  </a:cubicBezTo>
                  <a:lnTo>
                    <a:pt x="20197" y="123349"/>
                  </a:lnTo>
                  <a:cubicBezTo>
                    <a:pt x="18304" y="123349"/>
                    <a:pt x="16768" y="121814"/>
                    <a:pt x="16768" y="119920"/>
                  </a:cubicBezTo>
                  <a:cubicBezTo>
                    <a:pt x="16745" y="118281"/>
                    <a:pt x="17915" y="116867"/>
                    <a:pt x="19531" y="116586"/>
                  </a:cubicBezTo>
                  <a:lnTo>
                    <a:pt x="109351" y="116586"/>
                  </a:lnTo>
                  <a:close/>
                  <a:moveTo>
                    <a:pt x="112780" y="99346"/>
                  </a:moveTo>
                  <a:cubicBezTo>
                    <a:pt x="112731" y="97473"/>
                    <a:pt x="111224" y="95966"/>
                    <a:pt x="109351" y="95917"/>
                  </a:cubicBezTo>
                  <a:lnTo>
                    <a:pt x="19531" y="95917"/>
                  </a:lnTo>
                  <a:cubicBezTo>
                    <a:pt x="17915" y="96198"/>
                    <a:pt x="16745" y="97611"/>
                    <a:pt x="16768" y="99251"/>
                  </a:cubicBezTo>
                  <a:cubicBezTo>
                    <a:pt x="16768" y="101144"/>
                    <a:pt x="18304" y="102680"/>
                    <a:pt x="20197" y="102680"/>
                  </a:cubicBezTo>
                  <a:lnTo>
                    <a:pt x="109923" y="102680"/>
                  </a:lnTo>
                  <a:cubicBezTo>
                    <a:pt x="111686" y="102539"/>
                    <a:pt x="113072" y="101113"/>
                    <a:pt x="113161" y="99346"/>
                  </a:cubicBezTo>
                  <a:close/>
                  <a:moveTo>
                    <a:pt x="109351" y="75438"/>
                  </a:moveTo>
                  <a:cubicBezTo>
                    <a:pt x="111242" y="75552"/>
                    <a:pt x="112682" y="77176"/>
                    <a:pt x="112569" y="79066"/>
                  </a:cubicBezTo>
                  <a:cubicBezTo>
                    <a:pt x="112479" y="80582"/>
                    <a:pt x="111402" y="81857"/>
                    <a:pt x="109923" y="82201"/>
                  </a:cubicBezTo>
                  <a:lnTo>
                    <a:pt x="92206" y="82201"/>
                  </a:lnTo>
                  <a:cubicBezTo>
                    <a:pt x="90313" y="82201"/>
                    <a:pt x="88777" y="80666"/>
                    <a:pt x="88777" y="78772"/>
                  </a:cubicBezTo>
                  <a:cubicBezTo>
                    <a:pt x="88746" y="77111"/>
                    <a:pt x="89910" y="75666"/>
                    <a:pt x="91540" y="75343"/>
                  </a:cubicBezTo>
                  <a:lnTo>
                    <a:pt x="109351" y="75343"/>
                  </a:lnTo>
                  <a:close/>
                  <a:moveTo>
                    <a:pt x="113161" y="58293"/>
                  </a:moveTo>
                  <a:cubicBezTo>
                    <a:pt x="113385" y="56413"/>
                    <a:pt x="112042" y="54707"/>
                    <a:pt x="110161" y="54483"/>
                  </a:cubicBezTo>
                  <a:cubicBezTo>
                    <a:pt x="109893" y="54451"/>
                    <a:pt x="109620" y="54451"/>
                    <a:pt x="109351" y="54483"/>
                  </a:cubicBezTo>
                  <a:lnTo>
                    <a:pt x="91540" y="54483"/>
                  </a:lnTo>
                  <a:cubicBezTo>
                    <a:pt x="89910" y="54806"/>
                    <a:pt x="88746" y="56251"/>
                    <a:pt x="88777" y="57912"/>
                  </a:cubicBezTo>
                  <a:cubicBezTo>
                    <a:pt x="88777" y="59806"/>
                    <a:pt x="90313" y="61341"/>
                    <a:pt x="92206" y="61341"/>
                  </a:cubicBezTo>
                  <a:lnTo>
                    <a:pt x="109923" y="61341"/>
                  </a:lnTo>
                  <a:cubicBezTo>
                    <a:pt x="111604" y="61258"/>
                    <a:pt x="112977" y="59967"/>
                    <a:pt x="113161" y="58293"/>
                  </a:cubicBezTo>
                  <a:close/>
                  <a:moveTo>
                    <a:pt x="49915" y="57626"/>
                  </a:moveTo>
                  <a:lnTo>
                    <a:pt x="30103" y="70866"/>
                  </a:lnTo>
                  <a:cubicBezTo>
                    <a:pt x="38978" y="80714"/>
                    <a:pt x="54155" y="81503"/>
                    <a:pt x="64003" y="72628"/>
                  </a:cubicBezTo>
                  <a:cubicBezTo>
                    <a:pt x="73851" y="63754"/>
                    <a:pt x="74640" y="48576"/>
                    <a:pt x="65765" y="38729"/>
                  </a:cubicBezTo>
                  <a:cubicBezTo>
                    <a:pt x="62027" y="34582"/>
                    <a:pt x="56962" y="31867"/>
                    <a:pt x="51439" y="31052"/>
                  </a:cubicBezTo>
                  <a:lnTo>
                    <a:pt x="51439" y="54483"/>
                  </a:lnTo>
                  <a:cubicBezTo>
                    <a:pt x="51417" y="55383"/>
                    <a:pt x="51040" y="56240"/>
                    <a:pt x="50392" y="56864"/>
                  </a:cubicBezTo>
                  <a:close/>
                  <a:moveTo>
                    <a:pt x="23626" y="54483"/>
                  </a:moveTo>
                  <a:cubicBezTo>
                    <a:pt x="23599" y="42530"/>
                    <a:pt x="32370" y="32379"/>
                    <a:pt x="44200" y="30671"/>
                  </a:cubicBezTo>
                  <a:lnTo>
                    <a:pt x="44200" y="52578"/>
                  </a:lnTo>
                  <a:lnTo>
                    <a:pt x="25912" y="64770"/>
                  </a:lnTo>
                  <a:cubicBezTo>
                    <a:pt x="24383" y="61558"/>
                    <a:pt x="23601" y="58041"/>
                    <a:pt x="23626" y="54483"/>
                  </a:cubicBezTo>
                  <a:close/>
                  <a:moveTo>
                    <a:pt x="16768" y="54483"/>
                  </a:moveTo>
                  <a:cubicBezTo>
                    <a:pt x="16721" y="37387"/>
                    <a:pt x="30542" y="23489"/>
                    <a:pt x="47639" y="23441"/>
                  </a:cubicBezTo>
                  <a:cubicBezTo>
                    <a:pt x="64735" y="23394"/>
                    <a:pt x="78633" y="37214"/>
                    <a:pt x="78681" y="54312"/>
                  </a:cubicBezTo>
                  <a:cubicBezTo>
                    <a:pt x="78729" y="71408"/>
                    <a:pt x="64907" y="85306"/>
                    <a:pt x="47810" y="85354"/>
                  </a:cubicBezTo>
                  <a:cubicBezTo>
                    <a:pt x="37455" y="85382"/>
                    <a:pt x="27772" y="80231"/>
                    <a:pt x="22007" y="71628"/>
                  </a:cubicBezTo>
                  <a:lnTo>
                    <a:pt x="22007" y="71628"/>
                  </a:lnTo>
                  <a:cubicBezTo>
                    <a:pt x="18576" y="66570"/>
                    <a:pt x="16750" y="60595"/>
                    <a:pt x="16768" y="54483"/>
                  </a:cubicBezTo>
                  <a:close/>
                  <a:moveTo>
                    <a:pt x="119543" y="30194"/>
                  </a:moveTo>
                  <a:lnTo>
                    <a:pt x="102017" y="11144"/>
                  </a:lnTo>
                  <a:lnTo>
                    <a:pt x="102017" y="30194"/>
                  </a:lnTo>
                  <a:close/>
                  <a:moveTo>
                    <a:pt x="95159" y="6858"/>
                  </a:moveTo>
                  <a:lnTo>
                    <a:pt x="9434" y="6858"/>
                  </a:lnTo>
                  <a:cubicBezTo>
                    <a:pt x="7699" y="6904"/>
                    <a:pt x="6329" y="8347"/>
                    <a:pt x="6374" y="10082"/>
                  </a:cubicBezTo>
                  <a:cubicBezTo>
                    <a:pt x="6376" y="10151"/>
                    <a:pt x="6380" y="10219"/>
                    <a:pt x="6386" y="10287"/>
                  </a:cubicBezTo>
                  <a:lnTo>
                    <a:pt x="6386" y="154305"/>
                  </a:lnTo>
                  <a:cubicBezTo>
                    <a:pt x="6278" y="156090"/>
                    <a:pt x="7638" y="157626"/>
                    <a:pt x="9423" y="157733"/>
                  </a:cubicBezTo>
                  <a:cubicBezTo>
                    <a:pt x="9427" y="157734"/>
                    <a:pt x="9430" y="157734"/>
                    <a:pt x="9434" y="157734"/>
                  </a:cubicBezTo>
                  <a:lnTo>
                    <a:pt x="119924" y="157734"/>
                  </a:lnTo>
                  <a:cubicBezTo>
                    <a:pt x="121728" y="157631"/>
                    <a:pt x="123122" y="156111"/>
                    <a:pt x="123068" y="154305"/>
                  </a:cubicBezTo>
                  <a:lnTo>
                    <a:pt x="123068" y="37433"/>
                  </a:lnTo>
                  <a:lnTo>
                    <a:pt x="98588" y="37433"/>
                  </a:lnTo>
                  <a:cubicBezTo>
                    <a:pt x="96919" y="37451"/>
                    <a:pt x="95493" y="36229"/>
                    <a:pt x="95255" y="34576"/>
                  </a:cubicBezTo>
                  <a:lnTo>
                    <a:pt x="95255" y="6858"/>
                  </a:lnTo>
                  <a:close/>
                  <a:moveTo>
                    <a:pt x="95826" y="0"/>
                  </a:moveTo>
                  <a:lnTo>
                    <a:pt x="9529" y="0"/>
                  </a:lnTo>
                  <a:cubicBezTo>
                    <a:pt x="4080" y="258"/>
                    <a:pt x="-157" y="4834"/>
                    <a:pt x="4" y="10287"/>
                  </a:cubicBezTo>
                  <a:lnTo>
                    <a:pt x="4" y="154305"/>
                  </a:lnTo>
                  <a:cubicBezTo>
                    <a:pt x="-107" y="159739"/>
                    <a:pt x="4103" y="164285"/>
                    <a:pt x="9529" y="164592"/>
                  </a:cubicBezTo>
                  <a:lnTo>
                    <a:pt x="119924" y="164592"/>
                  </a:lnTo>
                  <a:cubicBezTo>
                    <a:pt x="125515" y="164488"/>
                    <a:pt x="129979" y="159897"/>
                    <a:pt x="129925" y="154305"/>
                  </a:cubicBezTo>
                  <a:lnTo>
                    <a:pt x="129925" y="35433"/>
                  </a:lnTo>
                  <a:cubicBezTo>
                    <a:pt x="129925" y="35433"/>
                    <a:pt x="129925" y="34671"/>
                    <a:pt x="129925" y="34290"/>
                  </a:cubicBezTo>
                  <a:cubicBezTo>
                    <a:pt x="129925" y="33909"/>
                    <a:pt x="129925" y="34290"/>
                    <a:pt x="129925" y="33719"/>
                  </a:cubicBezTo>
                  <a:lnTo>
                    <a:pt x="129925" y="33052"/>
                  </a:lnTo>
                  <a:cubicBezTo>
                    <a:pt x="129825" y="32528"/>
                    <a:pt x="129595" y="32038"/>
                    <a:pt x="129259" y="31623"/>
                  </a:cubicBezTo>
                  <a:cubicBezTo>
                    <a:pt x="128812" y="30344"/>
                    <a:pt x="128098" y="29175"/>
                    <a:pt x="127163" y="28194"/>
                  </a:cubicBezTo>
                  <a:lnTo>
                    <a:pt x="102970" y="3048"/>
                  </a:lnTo>
                  <a:cubicBezTo>
                    <a:pt x="102595" y="2592"/>
                    <a:pt x="102144" y="2205"/>
                    <a:pt x="101636" y="1905"/>
                  </a:cubicBezTo>
                  <a:cubicBezTo>
                    <a:pt x="101079" y="730"/>
                    <a:pt x="99889" y="-14"/>
                    <a:pt x="98588" y="0"/>
                  </a:cubicBezTo>
                  <a:lnTo>
                    <a:pt x="95826" y="0"/>
                  </a:lnTo>
                  <a:close/>
                </a:path>
              </a:pathLst>
            </a:custGeom>
            <a:solidFill>
              <a:srgbClr val="61A60E"/>
            </a:solidFill>
            <a:ln w="0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grpSp>
        <p:nvGrpSpPr>
          <p:cNvPr id="83" name="Gráfico 169">
            <a:extLst>
              <a:ext uri="{FF2B5EF4-FFF2-40B4-BE49-F238E27FC236}">
                <a16:creationId xmlns:a16="http://schemas.microsoft.com/office/drawing/2014/main" id="{5B37024D-7C85-45C6-9A22-FFE294F148C4}"/>
              </a:ext>
            </a:extLst>
          </p:cNvPr>
          <p:cNvGrpSpPr/>
          <p:nvPr/>
        </p:nvGrpSpPr>
        <p:grpSpPr>
          <a:xfrm>
            <a:off x="1235652" y="4650837"/>
            <a:ext cx="347472" cy="347472"/>
            <a:chOff x="1000602" y="1765760"/>
            <a:chExt cx="238887" cy="238887"/>
          </a:xfrm>
        </p:grpSpPr>
        <p:grpSp>
          <p:nvGrpSpPr>
            <p:cNvPr id="84" name="Gráfico 169">
              <a:extLst>
                <a:ext uri="{FF2B5EF4-FFF2-40B4-BE49-F238E27FC236}">
                  <a16:creationId xmlns:a16="http://schemas.microsoft.com/office/drawing/2014/main" id="{C5F8CE07-2E03-437D-B249-0AD75FB5713F}"/>
                </a:ext>
              </a:extLst>
            </p:cNvPr>
            <p:cNvGrpSpPr/>
            <p:nvPr/>
          </p:nvGrpSpPr>
          <p:grpSpPr>
            <a:xfrm>
              <a:off x="1048204" y="1809921"/>
              <a:ext cx="166021" cy="150399"/>
              <a:chOff x="1048204" y="1809921"/>
              <a:chExt cx="166021" cy="150399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D7E80263-EB88-4F95-8756-E61EA7090D76}"/>
                  </a:ext>
                </a:extLst>
              </p:cNvPr>
              <p:cNvSpPr/>
              <p:nvPr/>
            </p:nvSpPr>
            <p:spPr>
              <a:xfrm>
                <a:off x="1048204" y="1827066"/>
                <a:ext cx="136779" cy="117348"/>
              </a:xfrm>
              <a:custGeom>
                <a:avLst/>
                <a:gdLst>
                  <a:gd name="connsiteX0" fmla="*/ 126016 w 136779"/>
                  <a:gd name="connsiteY0" fmla="*/ 0 h 117348"/>
                  <a:gd name="connsiteX1" fmla="*/ 136779 w 136779"/>
                  <a:gd name="connsiteY1" fmla="*/ 0 h 117348"/>
                  <a:gd name="connsiteX2" fmla="*/ 136779 w 136779"/>
                  <a:gd name="connsiteY2" fmla="*/ 117348 h 117348"/>
                  <a:gd name="connsiteX3" fmla="*/ 126016 w 136779"/>
                  <a:gd name="connsiteY3" fmla="*/ 117348 h 117348"/>
                  <a:gd name="connsiteX4" fmla="*/ 10763 w 136779"/>
                  <a:gd name="connsiteY4" fmla="*/ 117348 h 117348"/>
                  <a:gd name="connsiteX5" fmla="*/ 0 w 136779"/>
                  <a:gd name="connsiteY5" fmla="*/ 117348 h 117348"/>
                  <a:gd name="connsiteX6" fmla="*/ 0 w 136779"/>
                  <a:gd name="connsiteY6" fmla="*/ 0 h 117348"/>
                  <a:gd name="connsiteX7" fmla="*/ 10763 w 136779"/>
                  <a:gd name="connsiteY7" fmla="*/ 0 h 117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779" h="117348">
                    <a:moveTo>
                      <a:pt x="126016" y="0"/>
                    </a:moveTo>
                    <a:cubicBezTo>
                      <a:pt x="131960" y="0"/>
                      <a:pt x="136779" y="0"/>
                      <a:pt x="136779" y="0"/>
                    </a:cubicBezTo>
                    <a:lnTo>
                      <a:pt x="136779" y="117348"/>
                    </a:lnTo>
                    <a:cubicBezTo>
                      <a:pt x="136779" y="117348"/>
                      <a:pt x="131960" y="117348"/>
                      <a:pt x="126016" y="117348"/>
                    </a:cubicBezTo>
                    <a:lnTo>
                      <a:pt x="10763" y="117348"/>
                    </a:lnTo>
                    <a:cubicBezTo>
                      <a:pt x="4819" y="117348"/>
                      <a:pt x="0" y="117348"/>
                      <a:pt x="0" y="117348"/>
                    </a:cubicBezTo>
                    <a:lnTo>
                      <a:pt x="0" y="0"/>
                    </a:lnTo>
                    <a:cubicBezTo>
                      <a:pt x="0" y="0"/>
                      <a:pt x="4819" y="0"/>
                      <a:pt x="10763" y="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54BC3D7F-5004-486D-9D94-B17A5BA1167D}"/>
                  </a:ext>
                </a:extLst>
              </p:cNvPr>
              <p:cNvSpPr/>
              <p:nvPr/>
            </p:nvSpPr>
            <p:spPr>
              <a:xfrm>
                <a:off x="1145835" y="1809921"/>
                <a:ext cx="13907" cy="34289"/>
              </a:xfrm>
              <a:custGeom>
                <a:avLst/>
                <a:gdLst>
                  <a:gd name="connsiteX0" fmla="*/ 6953 w 13907"/>
                  <a:gd name="connsiteY0" fmla="*/ 34290 h 34289"/>
                  <a:gd name="connsiteX1" fmla="*/ 0 w 13907"/>
                  <a:gd name="connsiteY1" fmla="*/ 27242 h 34289"/>
                  <a:gd name="connsiteX2" fmla="*/ 0 w 13907"/>
                  <a:gd name="connsiteY2" fmla="*/ 6953 h 34289"/>
                  <a:gd name="connsiteX3" fmla="*/ 6953 w 13907"/>
                  <a:gd name="connsiteY3" fmla="*/ 0 h 34289"/>
                  <a:gd name="connsiteX4" fmla="*/ 13907 w 13907"/>
                  <a:gd name="connsiteY4" fmla="*/ 6953 h 34289"/>
                  <a:gd name="connsiteX5" fmla="*/ 13907 w 13907"/>
                  <a:gd name="connsiteY5" fmla="*/ 27242 h 34289"/>
                  <a:gd name="connsiteX6" fmla="*/ 7049 w 13907"/>
                  <a:gd name="connsiteY6" fmla="*/ 34289 h 34289"/>
                  <a:gd name="connsiteX7" fmla="*/ 6953 w 13907"/>
                  <a:gd name="connsiteY7" fmla="*/ 34290 h 34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07" h="34289">
                    <a:moveTo>
                      <a:pt x="6953" y="34290"/>
                    </a:moveTo>
                    <a:cubicBezTo>
                      <a:pt x="3098" y="34238"/>
                      <a:pt x="0" y="31097"/>
                      <a:pt x="0" y="27242"/>
                    </a:cubicBezTo>
                    <a:lnTo>
                      <a:pt x="0" y="6953"/>
                    </a:lnTo>
                    <a:cubicBezTo>
                      <a:pt x="0" y="3113"/>
                      <a:pt x="3113" y="0"/>
                      <a:pt x="6953" y="0"/>
                    </a:cubicBezTo>
                    <a:cubicBezTo>
                      <a:pt x="10794" y="0"/>
                      <a:pt x="13907" y="3113"/>
                      <a:pt x="13907" y="6953"/>
                    </a:cubicBezTo>
                    <a:lnTo>
                      <a:pt x="13907" y="27242"/>
                    </a:lnTo>
                    <a:cubicBezTo>
                      <a:pt x="13959" y="31081"/>
                      <a:pt x="10889" y="34237"/>
                      <a:pt x="7049" y="34289"/>
                    </a:cubicBezTo>
                    <a:cubicBezTo>
                      <a:pt x="7017" y="34290"/>
                      <a:pt x="6986" y="34290"/>
                      <a:pt x="6953" y="342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90737F48-830A-4EAB-8C38-38F184C77C5A}"/>
                  </a:ext>
                </a:extLst>
              </p:cNvPr>
              <p:cNvSpPr/>
              <p:nvPr/>
            </p:nvSpPr>
            <p:spPr>
              <a:xfrm>
                <a:off x="1073064" y="1810643"/>
                <a:ext cx="14001" cy="33567"/>
              </a:xfrm>
              <a:custGeom>
                <a:avLst/>
                <a:gdLst>
                  <a:gd name="connsiteX0" fmla="*/ 6953 w 14001"/>
                  <a:gd name="connsiteY0" fmla="*/ 33568 h 33567"/>
                  <a:gd name="connsiteX1" fmla="*/ 0 w 14001"/>
                  <a:gd name="connsiteY1" fmla="*/ 26519 h 33567"/>
                  <a:gd name="connsiteX2" fmla="*/ 0 w 14001"/>
                  <a:gd name="connsiteY2" fmla="*/ 6231 h 33567"/>
                  <a:gd name="connsiteX3" fmla="*/ 7819 w 14001"/>
                  <a:gd name="connsiteY3" fmla="*/ 48 h 33567"/>
                  <a:gd name="connsiteX4" fmla="*/ 14002 w 14001"/>
                  <a:gd name="connsiteY4" fmla="*/ 6231 h 33567"/>
                  <a:gd name="connsiteX5" fmla="*/ 14002 w 14001"/>
                  <a:gd name="connsiteY5" fmla="*/ 26519 h 33567"/>
                  <a:gd name="connsiteX6" fmla="*/ 6953 w 14001"/>
                  <a:gd name="connsiteY6" fmla="*/ 33568 h 33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001" h="33567">
                    <a:moveTo>
                      <a:pt x="6953" y="33568"/>
                    </a:moveTo>
                    <a:cubicBezTo>
                      <a:pt x="3098" y="33516"/>
                      <a:pt x="0" y="30375"/>
                      <a:pt x="0" y="26519"/>
                    </a:cubicBezTo>
                    <a:lnTo>
                      <a:pt x="0" y="6231"/>
                    </a:lnTo>
                    <a:cubicBezTo>
                      <a:pt x="451" y="2365"/>
                      <a:pt x="3952" y="-403"/>
                      <a:pt x="7819" y="48"/>
                    </a:cubicBezTo>
                    <a:cubicBezTo>
                      <a:pt x="11063" y="427"/>
                      <a:pt x="13623" y="2986"/>
                      <a:pt x="14002" y="6231"/>
                    </a:cubicBezTo>
                    <a:lnTo>
                      <a:pt x="14002" y="26519"/>
                    </a:lnTo>
                    <a:cubicBezTo>
                      <a:pt x="14002" y="30412"/>
                      <a:pt x="10846" y="33568"/>
                      <a:pt x="6953" y="335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46C2DA33-CB7E-4439-AE8D-48A4424969FF}"/>
                  </a:ext>
                </a:extLst>
              </p:cNvPr>
              <p:cNvSpPr/>
              <p:nvPr/>
            </p:nvSpPr>
            <p:spPr>
              <a:xfrm>
                <a:off x="1048204" y="1857832"/>
                <a:ext cx="136779" cy="9525"/>
              </a:xfrm>
              <a:custGeom>
                <a:avLst/>
                <a:gdLst>
                  <a:gd name="connsiteX0" fmla="*/ 0 w 136779"/>
                  <a:gd name="connsiteY0" fmla="*/ 0 h 9525"/>
                  <a:gd name="connsiteX1" fmla="*/ 136779 w 13677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779" h="9525">
                    <a:moveTo>
                      <a:pt x="0" y="0"/>
                    </a:moveTo>
                    <a:lnTo>
                      <a:pt x="136779" y="0"/>
                    </a:lnTo>
                  </a:path>
                </a:pathLst>
              </a:custGeom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17A5DB8E-F104-4C58-A283-34AB51253886}"/>
                  </a:ext>
                </a:extLst>
              </p:cNvPr>
              <p:cNvSpPr/>
              <p:nvPr/>
            </p:nvSpPr>
            <p:spPr>
              <a:xfrm>
                <a:off x="1147740" y="1875358"/>
                <a:ext cx="16954" cy="16954"/>
              </a:xfrm>
              <a:custGeom>
                <a:avLst/>
                <a:gdLst>
                  <a:gd name="connsiteX0" fmla="*/ 0 w 16954"/>
                  <a:gd name="connsiteY0" fmla="*/ 16954 h 16954"/>
                  <a:gd name="connsiteX1" fmla="*/ 0 w 16954"/>
                  <a:gd name="connsiteY1" fmla="*/ 0 h 16954"/>
                  <a:gd name="connsiteX2" fmla="*/ 16954 w 16954"/>
                  <a:gd name="connsiteY2" fmla="*/ 0 h 1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54" h="16954">
                    <a:moveTo>
                      <a:pt x="0" y="16954"/>
                    </a:moveTo>
                    <a:lnTo>
                      <a:pt x="0" y="0"/>
                    </a:lnTo>
                    <a:lnTo>
                      <a:pt x="16954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FEB624BA-84EE-493C-9ECD-CEAEC039C30E}"/>
                  </a:ext>
                </a:extLst>
              </p:cNvPr>
              <p:cNvSpPr/>
              <p:nvPr/>
            </p:nvSpPr>
            <p:spPr>
              <a:xfrm>
                <a:off x="1108115" y="1875356"/>
                <a:ext cx="16954" cy="16954"/>
              </a:xfrm>
              <a:custGeom>
                <a:avLst/>
                <a:gdLst>
                  <a:gd name="connsiteX0" fmla="*/ 0 w 16954"/>
                  <a:gd name="connsiteY0" fmla="*/ 16954 h 16954"/>
                  <a:gd name="connsiteX1" fmla="*/ 0 w 16954"/>
                  <a:gd name="connsiteY1" fmla="*/ 0 h 16954"/>
                  <a:gd name="connsiteX2" fmla="*/ 16954 w 16954"/>
                  <a:gd name="connsiteY2" fmla="*/ 0 h 1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54" h="16954">
                    <a:moveTo>
                      <a:pt x="0" y="16954"/>
                    </a:moveTo>
                    <a:lnTo>
                      <a:pt x="0" y="0"/>
                    </a:lnTo>
                    <a:lnTo>
                      <a:pt x="16954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7576BD1C-460D-48BA-BFB5-6495227D8AC9}"/>
                  </a:ext>
                </a:extLst>
              </p:cNvPr>
              <p:cNvSpPr/>
              <p:nvPr/>
            </p:nvSpPr>
            <p:spPr>
              <a:xfrm>
                <a:off x="1068492" y="1875358"/>
                <a:ext cx="16954" cy="16954"/>
              </a:xfrm>
              <a:custGeom>
                <a:avLst/>
                <a:gdLst>
                  <a:gd name="connsiteX0" fmla="*/ 0 w 16954"/>
                  <a:gd name="connsiteY0" fmla="*/ 16954 h 16954"/>
                  <a:gd name="connsiteX1" fmla="*/ 0 w 16954"/>
                  <a:gd name="connsiteY1" fmla="*/ 0 h 16954"/>
                  <a:gd name="connsiteX2" fmla="*/ 16954 w 16954"/>
                  <a:gd name="connsiteY2" fmla="*/ 0 h 1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54" h="16954">
                    <a:moveTo>
                      <a:pt x="0" y="16954"/>
                    </a:moveTo>
                    <a:lnTo>
                      <a:pt x="0" y="0"/>
                    </a:lnTo>
                    <a:lnTo>
                      <a:pt x="16954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093F5FA5-FEF1-41AC-9C0E-B41D34689198}"/>
                  </a:ext>
                </a:extLst>
              </p:cNvPr>
              <p:cNvSpPr/>
              <p:nvPr/>
            </p:nvSpPr>
            <p:spPr>
              <a:xfrm>
                <a:off x="1108116" y="1909933"/>
                <a:ext cx="16954" cy="16954"/>
              </a:xfrm>
              <a:custGeom>
                <a:avLst/>
                <a:gdLst>
                  <a:gd name="connsiteX0" fmla="*/ 0 w 16954"/>
                  <a:gd name="connsiteY0" fmla="*/ 16954 h 16954"/>
                  <a:gd name="connsiteX1" fmla="*/ 0 w 16954"/>
                  <a:gd name="connsiteY1" fmla="*/ 0 h 16954"/>
                  <a:gd name="connsiteX2" fmla="*/ 16954 w 16954"/>
                  <a:gd name="connsiteY2" fmla="*/ 0 h 1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54" h="16954">
                    <a:moveTo>
                      <a:pt x="0" y="16954"/>
                    </a:moveTo>
                    <a:lnTo>
                      <a:pt x="0" y="0"/>
                    </a:lnTo>
                    <a:lnTo>
                      <a:pt x="16954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C81281C9-45D7-4B90-B9A2-3F7B866DB4C6}"/>
                  </a:ext>
                </a:extLst>
              </p:cNvPr>
              <p:cNvSpPr/>
              <p:nvPr/>
            </p:nvSpPr>
            <p:spPr>
              <a:xfrm>
                <a:off x="1068492" y="1909933"/>
                <a:ext cx="16954" cy="16954"/>
              </a:xfrm>
              <a:custGeom>
                <a:avLst/>
                <a:gdLst>
                  <a:gd name="connsiteX0" fmla="*/ 0 w 16954"/>
                  <a:gd name="connsiteY0" fmla="*/ 16954 h 16954"/>
                  <a:gd name="connsiteX1" fmla="*/ 0 w 16954"/>
                  <a:gd name="connsiteY1" fmla="*/ 0 h 16954"/>
                  <a:gd name="connsiteX2" fmla="*/ 16954 w 16954"/>
                  <a:gd name="connsiteY2" fmla="*/ 0 h 1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54" h="16954">
                    <a:moveTo>
                      <a:pt x="0" y="16954"/>
                    </a:moveTo>
                    <a:lnTo>
                      <a:pt x="0" y="0"/>
                    </a:lnTo>
                    <a:lnTo>
                      <a:pt x="16954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0AC8B122-A55B-450D-A3C1-1F8C374D87F8}"/>
                  </a:ext>
                </a:extLst>
              </p:cNvPr>
              <p:cNvSpPr/>
              <p:nvPr/>
            </p:nvSpPr>
            <p:spPr>
              <a:xfrm>
                <a:off x="1142121" y="1895169"/>
                <a:ext cx="72104" cy="65151"/>
              </a:xfrm>
              <a:custGeom>
                <a:avLst/>
                <a:gdLst>
                  <a:gd name="connsiteX0" fmla="*/ 29908 w 72104"/>
                  <a:gd name="connsiteY0" fmla="*/ 65151 h 65151"/>
                  <a:gd name="connsiteX1" fmla="*/ 24003 w 72104"/>
                  <a:gd name="connsiteY1" fmla="*/ 62008 h 65151"/>
                  <a:gd name="connsiteX2" fmla="*/ 0 w 72104"/>
                  <a:gd name="connsiteY2" fmla="*/ 26289 h 65151"/>
                  <a:gd name="connsiteX3" fmla="*/ 11811 w 72104"/>
                  <a:gd name="connsiteY3" fmla="*/ 18383 h 65151"/>
                  <a:gd name="connsiteX4" fmla="*/ 29908 w 72104"/>
                  <a:gd name="connsiteY4" fmla="*/ 45339 h 65151"/>
                  <a:gd name="connsiteX5" fmla="*/ 60293 w 72104"/>
                  <a:gd name="connsiteY5" fmla="*/ 0 h 65151"/>
                  <a:gd name="connsiteX6" fmla="*/ 72104 w 72104"/>
                  <a:gd name="connsiteY6" fmla="*/ 8001 h 65151"/>
                  <a:gd name="connsiteX7" fmla="*/ 35814 w 72104"/>
                  <a:gd name="connsiteY7" fmla="*/ 62008 h 65151"/>
                  <a:gd name="connsiteX8" fmla="*/ 29908 w 72104"/>
                  <a:gd name="connsiteY8" fmla="*/ 65151 h 6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104" h="65151">
                    <a:moveTo>
                      <a:pt x="29908" y="65151"/>
                    </a:moveTo>
                    <a:cubicBezTo>
                      <a:pt x="27537" y="65163"/>
                      <a:pt x="25317" y="63982"/>
                      <a:pt x="24003" y="62008"/>
                    </a:cubicBezTo>
                    <a:lnTo>
                      <a:pt x="0" y="26289"/>
                    </a:lnTo>
                    <a:lnTo>
                      <a:pt x="11811" y="18383"/>
                    </a:lnTo>
                    <a:lnTo>
                      <a:pt x="29908" y="45339"/>
                    </a:lnTo>
                    <a:lnTo>
                      <a:pt x="60293" y="0"/>
                    </a:lnTo>
                    <a:lnTo>
                      <a:pt x="72104" y="8001"/>
                    </a:lnTo>
                    <a:lnTo>
                      <a:pt x="35814" y="62008"/>
                    </a:lnTo>
                    <a:cubicBezTo>
                      <a:pt x="34500" y="63982"/>
                      <a:pt x="32280" y="65163"/>
                      <a:pt x="29908" y="651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51607F28-CB09-4B42-949F-E6D0BF72E6DA}"/>
                  </a:ext>
                </a:extLst>
              </p:cNvPr>
              <p:cNvSpPr/>
              <p:nvPr/>
            </p:nvSpPr>
            <p:spPr>
              <a:xfrm>
                <a:off x="1142121" y="1895169"/>
                <a:ext cx="72104" cy="65151"/>
              </a:xfrm>
              <a:custGeom>
                <a:avLst/>
                <a:gdLst>
                  <a:gd name="connsiteX0" fmla="*/ 29908 w 72104"/>
                  <a:gd name="connsiteY0" fmla="*/ 65151 h 65151"/>
                  <a:gd name="connsiteX1" fmla="*/ 24003 w 72104"/>
                  <a:gd name="connsiteY1" fmla="*/ 62008 h 65151"/>
                  <a:gd name="connsiteX2" fmla="*/ 0 w 72104"/>
                  <a:gd name="connsiteY2" fmla="*/ 26289 h 65151"/>
                  <a:gd name="connsiteX3" fmla="*/ 11811 w 72104"/>
                  <a:gd name="connsiteY3" fmla="*/ 18383 h 65151"/>
                  <a:gd name="connsiteX4" fmla="*/ 29908 w 72104"/>
                  <a:gd name="connsiteY4" fmla="*/ 45339 h 65151"/>
                  <a:gd name="connsiteX5" fmla="*/ 60293 w 72104"/>
                  <a:gd name="connsiteY5" fmla="*/ 0 h 65151"/>
                  <a:gd name="connsiteX6" fmla="*/ 72104 w 72104"/>
                  <a:gd name="connsiteY6" fmla="*/ 8001 h 65151"/>
                  <a:gd name="connsiteX7" fmla="*/ 35814 w 72104"/>
                  <a:gd name="connsiteY7" fmla="*/ 62008 h 65151"/>
                  <a:gd name="connsiteX8" fmla="*/ 29908 w 72104"/>
                  <a:gd name="connsiteY8" fmla="*/ 65151 h 6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104" h="65151">
                    <a:moveTo>
                      <a:pt x="29908" y="65151"/>
                    </a:moveTo>
                    <a:cubicBezTo>
                      <a:pt x="27537" y="65163"/>
                      <a:pt x="25317" y="63982"/>
                      <a:pt x="24003" y="62008"/>
                    </a:cubicBezTo>
                    <a:lnTo>
                      <a:pt x="0" y="26289"/>
                    </a:lnTo>
                    <a:lnTo>
                      <a:pt x="11811" y="18383"/>
                    </a:lnTo>
                    <a:lnTo>
                      <a:pt x="29908" y="45339"/>
                    </a:lnTo>
                    <a:lnTo>
                      <a:pt x="60293" y="0"/>
                    </a:lnTo>
                    <a:lnTo>
                      <a:pt x="72104" y="8001"/>
                    </a:lnTo>
                    <a:lnTo>
                      <a:pt x="35814" y="62008"/>
                    </a:lnTo>
                    <a:cubicBezTo>
                      <a:pt x="34500" y="63982"/>
                      <a:pt x="32280" y="65163"/>
                      <a:pt x="29908" y="6515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61A60E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Lato Light" panose="020F0302020204030203" pitchFamily="34" charset="0"/>
                </a:endParaRPr>
              </a:p>
            </p:txBody>
          </p:sp>
        </p:grp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B9F0E74-8D06-49EB-8525-D774867ABACA}"/>
                </a:ext>
              </a:extLst>
            </p:cNvPr>
            <p:cNvSpPr/>
            <p:nvPr/>
          </p:nvSpPr>
          <p:spPr>
            <a:xfrm rot="-1903200">
              <a:off x="1000602" y="1765760"/>
              <a:ext cx="238887" cy="238887"/>
            </a:xfrm>
            <a:custGeom>
              <a:avLst/>
              <a:gdLst>
                <a:gd name="connsiteX0" fmla="*/ 238887 w 238887"/>
                <a:gd name="connsiteY0" fmla="*/ 119444 h 238887"/>
                <a:gd name="connsiteX1" fmla="*/ 119444 w 238887"/>
                <a:gd name="connsiteY1" fmla="*/ 238887 h 238887"/>
                <a:gd name="connsiteX2" fmla="*/ 0 w 238887"/>
                <a:gd name="connsiteY2" fmla="*/ 119444 h 238887"/>
                <a:gd name="connsiteX3" fmla="*/ 119444 w 238887"/>
                <a:gd name="connsiteY3" fmla="*/ 0 h 238887"/>
                <a:gd name="connsiteX4" fmla="*/ 238887 w 238887"/>
                <a:gd name="connsiteY4" fmla="*/ 119444 h 238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887" h="238887">
                  <a:moveTo>
                    <a:pt x="238887" y="119444"/>
                  </a:moveTo>
                  <a:cubicBezTo>
                    <a:pt x="238887" y="185410"/>
                    <a:pt x="185410" y="238887"/>
                    <a:pt x="119444" y="238887"/>
                  </a:cubicBezTo>
                  <a:cubicBezTo>
                    <a:pt x="53477" y="238887"/>
                    <a:pt x="0" y="185410"/>
                    <a:pt x="0" y="119444"/>
                  </a:cubicBezTo>
                  <a:cubicBezTo>
                    <a:pt x="0" y="53477"/>
                    <a:pt x="53477" y="0"/>
                    <a:pt x="119444" y="0"/>
                  </a:cubicBezTo>
                  <a:cubicBezTo>
                    <a:pt x="185410" y="0"/>
                    <a:pt x="238887" y="53477"/>
                    <a:pt x="238887" y="119444"/>
                  </a:cubicBezTo>
                  <a:close/>
                </a:path>
              </a:pathLst>
            </a:custGeom>
            <a:noFill/>
            <a:ln w="9525" cap="sq">
              <a:solidFill>
                <a:srgbClr val="61A60E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302020204030203" pitchFamily="34" charset="0"/>
              </a:endParaRPr>
            </a:p>
          </p:txBody>
        </p:sp>
      </p:grpSp>
      <p:sp>
        <p:nvSpPr>
          <p:cNvPr id="97" name="Text Placeholder 16">
            <a:extLst>
              <a:ext uri="{FF2B5EF4-FFF2-40B4-BE49-F238E27FC236}">
                <a16:creationId xmlns:a16="http://schemas.microsoft.com/office/drawing/2014/main" id="{08BBD226-8A89-4811-9516-3BAC9317CFFF}"/>
              </a:ext>
            </a:extLst>
          </p:cNvPr>
          <p:cNvSpPr>
            <a:spLocks noGrp="1"/>
          </p:cNvSpPr>
          <p:nvPr/>
        </p:nvSpPr>
        <p:spPr>
          <a:xfrm>
            <a:off x="4067257" y="4932191"/>
            <a:ext cx="1681805" cy="30802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Construction and Operations Plan Submitted (April 2022)</a:t>
            </a:r>
          </a:p>
        </p:txBody>
      </p:sp>
      <p:sp>
        <p:nvSpPr>
          <p:cNvPr id="98" name="Text Placeholder 138">
            <a:extLst>
              <a:ext uri="{FF2B5EF4-FFF2-40B4-BE49-F238E27FC236}">
                <a16:creationId xmlns:a16="http://schemas.microsoft.com/office/drawing/2014/main" id="{CD86116A-3E01-4F36-B11D-CD5D5D842AB7}"/>
              </a:ext>
            </a:extLst>
          </p:cNvPr>
          <p:cNvSpPr>
            <a:spLocks noGrp="1"/>
          </p:cNvSpPr>
          <p:nvPr/>
        </p:nvSpPr>
        <p:spPr>
          <a:xfrm>
            <a:off x="4171523" y="5555045"/>
            <a:ext cx="1368000" cy="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9" name="Text Placeholder 145">
            <a:extLst>
              <a:ext uri="{FF2B5EF4-FFF2-40B4-BE49-F238E27FC236}">
                <a16:creationId xmlns:a16="http://schemas.microsoft.com/office/drawing/2014/main" id="{114D877F-2B4C-4E8F-B694-9BF9B5A76CF7}"/>
              </a:ext>
            </a:extLst>
          </p:cNvPr>
          <p:cNvSpPr>
            <a:spLocks noGrp="1"/>
          </p:cNvSpPr>
          <p:nvPr/>
        </p:nvSpPr>
        <p:spPr>
          <a:xfrm>
            <a:off x="4171523" y="5555045"/>
            <a:ext cx="345263" cy="0"/>
          </a:xfrm>
          <a:prstGeom prst="rect">
            <a:avLst/>
          </a:prstGeom>
          <a:solidFill>
            <a:srgbClr val="FFC000"/>
          </a:solidFill>
          <a:ln w="34925" cap="flat">
            <a:solidFill>
              <a:schemeClr val="bg2"/>
            </a:solidFill>
            <a:miter lim="800000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00" kern="1200">
                <a:solidFill>
                  <a:schemeClr val="bg1">
                    <a:alpha val="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0" name="Picture 14" descr="Map&#10;&#10;Description automatically generated">
            <a:extLst>
              <a:ext uri="{FF2B5EF4-FFF2-40B4-BE49-F238E27FC236}">
                <a16:creationId xmlns:a16="http://schemas.microsoft.com/office/drawing/2014/main" id="{F5196C1A-F7BC-4E5A-A2EB-89F6AAD1B3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8940" y="2044291"/>
            <a:ext cx="4203878" cy="3255517"/>
          </a:xfrm>
          <a:prstGeom prst="rect">
            <a:avLst/>
          </a:prstGeom>
        </p:spPr>
      </p:pic>
      <p:sp>
        <p:nvSpPr>
          <p:cNvPr id="101" name="Text Placeholder 21">
            <a:extLst>
              <a:ext uri="{FF2B5EF4-FFF2-40B4-BE49-F238E27FC236}">
                <a16:creationId xmlns:a16="http://schemas.microsoft.com/office/drawing/2014/main" id="{C3E73D17-BE99-40BC-8016-B2DF8282421B}"/>
              </a:ext>
            </a:extLst>
          </p:cNvPr>
          <p:cNvSpPr>
            <a:spLocks noGrp="1"/>
          </p:cNvSpPr>
          <p:nvPr/>
        </p:nvSpPr>
        <p:spPr>
          <a:xfrm>
            <a:off x="1672700" y="2937410"/>
            <a:ext cx="1681805" cy="308023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i="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00" dirty="0">
              <a:solidFill>
                <a:schemeClr val="bg1">
                  <a:lumMod val="50000"/>
                </a:schemeClr>
              </a:solidFill>
              <a:latin typeface="Lato Light" panose="020F0302020204030203" pitchFamily="34" charset="0"/>
            </a:endParaRPr>
          </a:p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54299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447D7FD-C411-4EF2-A409-53FE65455AA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8D6C3-24C7-49A4-999E-2A5AD86ADF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Market Opportunities and North Carolina Delive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5E684D-C355-4785-B21E-AD85BD0BAF7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4C4B50B-D412-403C-9FC6-1D0529DFDD9F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/>
        <p:txBody>
          <a:bodyPr/>
          <a:lstStyle/>
          <a:p>
            <a:r>
              <a:rPr lang="en-US" dirty="0"/>
              <a:t>NC TOW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78674-D5E3-484A-AF7A-E35F63A42960}"/>
              </a:ext>
            </a:extLst>
          </p:cNvPr>
          <p:cNvSpPr txBox="1"/>
          <p:nvPr/>
        </p:nvSpPr>
        <p:spPr>
          <a:xfrm>
            <a:off x="619172" y="1065213"/>
            <a:ext cx="11175664" cy="60275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45709" rIns="91419" bIns="45709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b="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1E39C-82D6-4E03-A7B6-23D40AFE4B86}"/>
              </a:ext>
            </a:extLst>
          </p:cNvPr>
          <p:cNvSpPr txBox="1"/>
          <p:nvPr/>
        </p:nvSpPr>
        <p:spPr>
          <a:xfrm>
            <a:off x="508168" y="1079702"/>
            <a:ext cx="11175664" cy="60275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45709" rIns="91419" bIns="45709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b="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3CC7EE-C26C-43F9-A34A-DD4BC4E9C1BE}"/>
              </a:ext>
            </a:extLst>
          </p:cNvPr>
          <p:cNvSpPr txBox="1"/>
          <p:nvPr/>
        </p:nvSpPr>
        <p:spPr>
          <a:xfrm>
            <a:off x="7157747" y="5851905"/>
            <a:ext cx="3239670" cy="44080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45709" rIns="91419" bIns="45709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tential HVDC routes, onshore routes, and points of interconnection (not final)</a:t>
            </a: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591DDA3-721F-4654-BF5C-098639EF64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00" y="1192342"/>
            <a:ext cx="2547452" cy="802434"/>
          </a:xfrm>
          <a:prstGeom prst="rect">
            <a:avLst/>
          </a:prstGeom>
        </p:spPr>
      </p:pic>
      <p:pic>
        <p:nvPicPr>
          <p:cNvPr id="20" name="Picture 19" descr="Map&#10;&#10;Description automatically generated">
            <a:extLst>
              <a:ext uri="{FF2B5EF4-FFF2-40B4-BE49-F238E27FC236}">
                <a16:creationId xmlns:a16="http://schemas.microsoft.com/office/drawing/2014/main" id="{6FDDDD5C-3D89-4C5F-B3C5-77E291EF0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000" y="1936584"/>
            <a:ext cx="4763165" cy="391532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2C25425-C5BD-4F44-9886-4C1E10AC8353}"/>
              </a:ext>
            </a:extLst>
          </p:cNvPr>
          <p:cNvSpPr txBox="1"/>
          <p:nvPr/>
        </p:nvSpPr>
        <p:spPr>
          <a:xfrm>
            <a:off x="344406" y="2581058"/>
            <a:ext cx="6051594" cy="149117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45709" rIns="91419" bIns="45709" rtlCol="0" anchor="t" anchorCtr="0">
            <a:noAutofit/>
          </a:bodyPr>
          <a:lstStyle/>
          <a:p>
            <a:pPr marL="285750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28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timized project size for lowest potential LCOE</a:t>
            </a:r>
          </a:p>
          <a:p>
            <a:pPr marL="285750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2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28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tential for 2029/2030 COD</a:t>
            </a:r>
          </a:p>
          <a:p>
            <a:pPr marL="285750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GB" sz="2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GB" sz="2800" b="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rts/Supply Chain/Workforce and other investments and partnerships</a:t>
            </a:r>
          </a:p>
        </p:txBody>
      </p:sp>
    </p:spTree>
    <p:extLst>
      <p:ext uri="{BB962C8B-B14F-4D97-AF65-F5344CB8AC3E}">
        <p14:creationId xmlns:p14="http://schemas.microsoft.com/office/powerpoint/2010/main" val="3379622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031E2B-71EC-476F-9E5E-2AF87D11937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5FDA0-5CF1-49F4-BA5F-31B09C8361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" y="1166855"/>
            <a:ext cx="11029083" cy="610092"/>
          </a:xfrm>
        </p:spPr>
        <p:txBody>
          <a:bodyPr/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s part of Commonwealth Wind, two former Coal-Fired Power Plants </a:t>
            </a:r>
          </a:p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will be redeveloped into critical hubs for clean energy job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F27B7C-4F6C-4373-9BDA-F5D8221389DE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A72F3A0-8BB1-40C7-BF4A-3395D9E71DA0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406400" y="269420"/>
            <a:ext cx="9027886" cy="698553"/>
          </a:xfrm>
        </p:spPr>
        <p:txBody>
          <a:bodyPr/>
          <a:lstStyle/>
          <a:p>
            <a:r>
              <a:rPr lang="en-US" sz="2000" b="1" dirty="0">
                <a:solidFill>
                  <a:srgbClr val="002060"/>
                </a:solidFill>
                <a:latin typeface="+mj-lt"/>
              </a:rPr>
              <a:t>Commonwealth Wind </a:t>
            </a:r>
          </a:p>
          <a:p>
            <a:r>
              <a:rPr lang="en-US" sz="2000" b="1" dirty="0">
                <a:solidFill>
                  <a:schemeClr val="accent4"/>
                </a:solidFill>
                <a:latin typeface="+mj-lt"/>
              </a:rPr>
              <a:t>Delivering on the Promise of the Clean Energy Transition</a:t>
            </a:r>
          </a:p>
        </p:txBody>
      </p:sp>
      <p:pic>
        <p:nvPicPr>
          <p:cNvPr id="8" name="Picture 7" descr="A picture containing water, sky, outdoor, nature&#10;&#10;Description automatically generated">
            <a:extLst>
              <a:ext uri="{FF2B5EF4-FFF2-40B4-BE49-F238E27FC236}">
                <a16:creationId xmlns:a16="http://schemas.microsoft.com/office/drawing/2014/main" id="{3C77FB93-2A11-4944-9200-1E57F7A886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0" r="3178"/>
          <a:stretch/>
        </p:blipFill>
        <p:spPr>
          <a:xfrm>
            <a:off x="7722001" y="4294785"/>
            <a:ext cx="3790399" cy="252052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BE04403-E328-45F7-93D3-A0FC7B2C12A2}"/>
              </a:ext>
            </a:extLst>
          </p:cNvPr>
          <p:cNvSpPr txBox="1"/>
          <p:nvPr/>
        </p:nvSpPr>
        <p:spPr>
          <a:xfrm>
            <a:off x="10362861" y="6543061"/>
            <a:ext cx="1086415" cy="18516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45709" rIns="91419" bIns="45709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Artist render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B1A172-B656-4821-AACB-6C5412230F63}"/>
              </a:ext>
            </a:extLst>
          </p:cNvPr>
          <p:cNvSpPr/>
          <p:nvPr/>
        </p:nvSpPr>
        <p:spPr>
          <a:xfrm>
            <a:off x="4628825" y="1788612"/>
            <a:ext cx="293435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5C881A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3672A"/>
                </a:solidFill>
                <a:effectLst/>
                <a:uLnTx/>
                <a:uFillTx/>
                <a:latin typeface="Lato"/>
                <a:ea typeface="ＭＳ Ｐゴシック" charset="-128"/>
                <a:cs typeface="+mn-cs"/>
              </a:rPr>
              <a:t>The Transformation of Salem Station into Offshore Wind Marshalling Port with City of Salem &amp; Crowle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5C881A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7FB2BFB-7CBE-4BEA-A740-7495ABF816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14"/>
          <a:stretch/>
        </p:blipFill>
        <p:spPr>
          <a:xfrm>
            <a:off x="7722001" y="1878157"/>
            <a:ext cx="3790400" cy="2305459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C01DA4B-6D32-4DA4-8774-A044C7D0B4C5}"/>
              </a:ext>
            </a:extLst>
          </p:cNvPr>
          <p:cNvGrpSpPr/>
          <p:nvPr/>
        </p:nvGrpSpPr>
        <p:grpSpPr>
          <a:xfrm>
            <a:off x="10410839" y="192879"/>
            <a:ext cx="1595636" cy="786527"/>
            <a:chOff x="10410839" y="213633"/>
            <a:chExt cx="1595636" cy="78652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B7BDE52-7EA7-41D9-B875-50599E4C2848}"/>
                </a:ext>
              </a:extLst>
            </p:cNvPr>
            <p:cNvGrpSpPr/>
            <p:nvPr/>
          </p:nvGrpSpPr>
          <p:grpSpPr>
            <a:xfrm>
              <a:off x="10839945" y="213633"/>
              <a:ext cx="1166530" cy="691392"/>
              <a:chOff x="5132670" y="2960737"/>
              <a:chExt cx="1877731" cy="1079086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9E044A0A-CD6C-4371-B7A5-901459B4F8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32670" y="2960737"/>
                <a:ext cx="1877731" cy="1079086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53913EA-CF8D-4F46-9211-8398A18A465C}"/>
                  </a:ext>
                </a:extLst>
              </p:cNvPr>
              <p:cNvSpPr/>
              <p:nvPr/>
            </p:nvSpPr>
            <p:spPr>
              <a:xfrm>
                <a:off x="6096001" y="2960737"/>
                <a:ext cx="914400" cy="62286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Picture 16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3A3DCE14-FDFE-43B7-9555-D504B2DF19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61" t="12830" r="70179" b="20466"/>
            <a:stretch/>
          </p:blipFill>
          <p:spPr>
            <a:xfrm>
              <a:off x="10410839" y="616830"/>
              <a:ext cx="429106" cy="38333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929B683-F7BA-4096-827A-6FA1F848C0C9}"/>
              </a:ext>
            </a:extLst>
          </p:cNvPr>
          <p:cNvSpPr txBox="1"/>
          <p:nvPr/>
        </p:nvSpPr>
        <p:spPr>
          <a:xfrm>
            <a:off x="6569612" y="5806695"/>
            <a:ext cx="4968031" cy="46516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45709" rIns="91419" bIns="45709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4AF720-C2E4-4CC6-A1DD-91CF3183A773}"/>
              </a:ext>
            </a:extLst>
          </p:cNvPr>
          <p:cNvSpPr/>
          <p:nvPr/>
        </p:nvSpPr>
        <p:spPr>
          <a:xfrm>
            <a:off x="4678692" y="4585553"/>
            <a:ext cx="283461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3672A"/>
                </a:solidFill>
                <a:effectLst/>
                <a:uLnTx/>
                <a:uFillTx/>
                <a:latin typeface="Lato"/>
                <a:ea typeface="ＭＳ Ｐゴシック" charset="-128"/>
                <a:cs typeface="+mn-cs"/>
              </a:rPr>
              <a:t>The transformation of Brayton Point into Offshore Manufacturing facility with Prysmian</a:t>
            </a:r>
          </a:p>
        </p:txBody>
      </p:sp>
      <p:pic>
        <p:nvPicPr>
          <p:cNvPr id="5122" name="Picture 2" descr="Salem Harbor Power Plant Rebuild | Salem | archBOSTON">
            <a:extLst>
              <a:ext uri="{FF2B5EF4-FFF2-40B4-BE49-F238E27FC236}">
                <a16:creationId xmlns:a16="http://schemas.microsoft.com/office/drawing/2014/main" id="{5E5AB97A-D9EB-4B6F-8A20-4FF7CF9D8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464" y="1957104"/>
            <a:ext cx="3716935" cy="22265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A1945B08-E825-4A29-BA5A-2357BF34B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63000"/>
                    </a14:imgEffect>
                    <a14:imgEffect>
                      <a14:brightnessContrast bright="18000" contrast="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00" y="4298252"/>
            <a:ext cx="3790399" cy="25170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E90098F-B7F2-4BF8-8EE0-F0E7AC1893AC}"/>
              </a:ext>
            </a:extLst>
          </p:cNvPr>
          <p:cNvSpPr txBox="1"/>
          <p:nvPr/>
        </p:nvSpPr>
        <p:spPr>
          <a:xfrm>
            <a:off x="7484471" y="3920197"/>
            <a:ext cx="1086415" cy="18516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45709" rIns="91419" bIns="45709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Artist rendering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4468F39E-EF0E-4C21-9F58-A33273FC1D92}"/>
              </a:ext>
            </a:extLst>
          </p:cNvPr>
          <p:cNvSpPr/>
          <p:nvPr/>
        </p:nvSpPr>
        <p:spPr>
          <a:xfrm>
            <a:off x="4233841" y="2699283"/>
            <a:ext cx="551543" cy="610092"/>
          </a:xfrm>
          <a:prstGeom prst="rightArrow">
            <a:avLst/>
          </a:prstGeom>
          <a:solidFill>
            <a:schemeClr val="tx2"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BA006FA1-27BF-42B1-A8DF-E3745D9F1FB2}"/>
              </a:ext>
            </a:extLst>
          </p:cNvPr>
          <p:cNvSpPr/>
          <p:nvPr/>
        </p:nvSpPr>
        <p:spPr>
          <a:xfrm>
            <a:off x="7455443" y="2693043"/>
            <a:ext cx="551543" cy="610092"/>
          </a:xfrm>
          <a:prstGeom prst="rightArrow">
            <a:avLst/>
          </a:prstGeom>
          <a:solidFill>
            <a:schemeClr val="tx2"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94826DE5-6A60-402C-B6BA-FF289CCD4EDB}"/>
              </a:ext>
            </a:extLst>
          </p:cNvPr>
          <p:cNvSpPr/>
          <p:nvPr/>
        </p:nvSpPr>
        <p:spPr>
          <a:xfrm>
            <a:off x="4190326" y="5250003"/>
            <a:ext cx="551543" cy="610092"/>
          </a:xfrm>
          <a:prstGeom prst="rightArrow">
            <a:avLst/>
          </a:prstGeom>
          <a:solidFill>
            <a:schemeClr val="tx2"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C369C831-142A-4003-A7F4-252A1BFC3CDF}"/>
              </a:ext>
            </a:extLst>
          </p:cNvPr>
          <p:cNvSpPr/>
          <p:nvPr/>
        </p:nvSpPr>
        <p:spPr>
          <a:xfrm>
            <a:off x="7461621" y="5248961"/>
            <a:ext cx="551543" cy="610092"/>
          </a:xfrm>
          <a:prstGeom prst="rightArrow">
            <a:avLst/>
          </a:prstGeom>
          <a:solidFill>
            <a:schemeClr val="tx2">
              <a:alpha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870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">
  <a:themeElements>
    <a:clrScheme name="IBERDROLA 2">
      <a:dk1>
        <a:sysClr val="windowText" lastClr="000000"/>
      </a:dk1>
      <a:lt1>
        <a:sysClr val="window" lastClr="FFFFFF"/>
      </a:lt1>
      <a:dk2>
        <a:srgbClr val="5C881A"/>
      </a:dk2>
      <a:lt2>
        <a:srgbClr val="FF5A00"/>
      </a:lt2>
      <a:accent1>
        <a:srgbClr val="61A60E"/>
      </a:accent1>
      <a:accent2>
        <a:srgbClr val="0063BE"/>
      </a:accent2>
      <a:accent3>
        <a:srgbClr val="53672A"/>
      </a:accent3>
      <a:accent4>
        <a:srgbClr val="5C881A"/>
      </a:accent4>
      <a:accent5>
        <a:srgbClr val="5F6971"/>
      </a:accent5>
      <a:accent6>
        <a:srgbClr val="727F80"/>
      </a:accent6>
      <a:hlink>
        <a:srgbClr val="D3D4D3"/>
      </a:hlink>
      <a:folHlink>
        <a:srgbClr val="5F6971"/>
      </a:folHlink>
    </a:clrScheme>
    <a:fontScheme name="Custom 4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 w="3175">
          <a:miter lim="400000"/>
        </a:ln>
        <a:extLst>
          <a:ext uri="{C572A759-6A51-4108-AA02-DFA0A04FC94B}">
            <ma14:wrappingTextBoxFlag xmlns="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0" tIns="45709" rIns="91419" bIns="45709" anchor="b" anchorCtr="0">
        <a:noAutofit/>
      </a:bodyPr>
      <a:lstStyle>
        <a:defPPr algn="l">
          <a:lnSpc>
            <a:spcPct val="90000"/>
          </a:lnSpc>
          <a:defRPr sz="3200" b="0" ker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aster">
  <a:themeElements>
    <a:clrScheme name="IBERDROLA 2">
      <a:dk1>
        <a:sysClr val="windowText" lastClr="000000"/>
      </a:dk1>
      <a:lt1>
        <a:sysClr val="window" lastClr="FFFFFF"/>
      </a:lt1>
      <a:dk2>
        <a:srgbClr val="5C881A"/>
      </a:dk2>
      <a:lt2>
        <a:srgbClr val="FF5A00"/>
      </a:lt2>
      <a:accent1>
        <a:srgbClr val="61A60E"/>
      </a:accent1>
      <a:accent2>
        <a:srgbClr val="0063BE"/>
      </a:accent2>
      <a:accent3>
        <a:srgbClr val="53672A"/>
      </a:accent3>
      <a:accent4>
        <a:srgbClr val="5C881A"/>
      </a:accent4>
      <a:accent5>
        <a:srgbClr val="5F6971"/>
      </a:accent5>
      <a:accent6>
        <a:srgbClr val="727F80"/>
      </a:accent6>
      <a:hlink>
        <a:srgbClr val="D3D4D3"/>
      </a:hlink>
      <a:folHlink>
        <a:srgbClr val="5F6971"/>
      </a:folHlink>
    </a:clrScheme>
    <a:fontScheme name="Custom 4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 w="3175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="" val="1"/>
          </a:ext>
        </a:extLst>
      </a:spPr>
      <a:bodyPr lIns="0" tIns="45709" rIns="91419" bIns="45709" anchor="b" anchorCtr="0">
        <a:noAutofit/>
      </a:bodyPr>
      <a:lstStyle>
        <a:defPPr algn="l">
          <a:lnSpc>
            <a:spcPct val="90000"/>
          </a:lnSpc>
          <a:defRPr sz="3200" b="0" ker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aster">
  <a:themeElements>
    <a:clrScheme name="IBERDROLA 2">
      <a:dk1>
        <a:sysClr val="windowText" lastClr="000000"/>
      </a:dk1>
      <a:lt1>
        <a:sysClr val="window" lastClr="FFFFFF"/>
      </a:lt1>
      <a:dk2>
        <a:srgbClr val="5C881A"/>
      </a:dk2>
      <a:lt2>
        <a:srgbClr val="FF5A00"/>
      </a:lt2>
      <a:accent1>
        <a:srgbClr val="61A60E"/>
      </a:accent1>
      <a:accent2>
        <a:srgbClr val="0063BE"/>
      </a:accent2>
      <a:accent3>
        <a:srgbClr val="53672A"/>
      </a:accent3>
      <a:accent4>
        <a:srgbClr val="5C881A"/>
      </a:accent4>
      <a:accent5>
        <a:srgbClr val="5F6971"/>
      </a:accent5>
      <a:accent6>
        <a:srgbClr val="727F80"/>
      </a:accent6>
      <a:hlink>
        <a:srgbClr val="D3D4D3"/>
      </a:hlink>
      <a:folHlink>
        <a:srgbClr val="5F6971"/>
      </a:folHlink>
    </a:clrScheme>
    <a:fontScheme name="Custom 4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ln w="3175">
          <a:miter lim="400000"/>
        </a:ln>
        <a:extLst>
          <a:ext uri="{C572A759-6A51-4108-AA02-DFA0A04FC94B}">
            <ma14:wrappingTextBoxFlag xmlns="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0" tIns="45709" rIns="91419" bIns="45709" anchor="b" anchorCtr="0">
        <a:noAutofit/>
      </a:bodyPr>
      <a:lstStyle>
        <a:defPPr algn="l">
          <a:lnSpc>
            <a:spcPct val="90000"/>
          </a:lnSpc>
          <a:defRPr sz="3200" b="0" ker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7</TotalTime>
  <Words>490</Words>
  <Application>Microsoft Office PowerPoint</Application>
  <PresentationFormat>Widescreen</PresentationFormat>
  <Paragraphs>8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Lato</vt:lpstr>
      <vt:lpstr>Lato Black</vt:lpstr>
      <vt:lpstr>Lato Light</vt:lpstr>
      <vt:lpstr>Master</vt:lpstr>
      <vt:lpstr>1_Master</vt:lpstr>
      <vt:lpstr>2_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da Lino, Sara</dc:creator>
  <cp:lastModifiedBy>Thumma, Eric</cp:lastModifiedBy>
  <cp:revision>44</cp:revision>
  <dcterms:created xsi:type="dcterms:W3CDTF">2021-06-28T10:26:46Z</dcterms:created>
  <dcterms:modified xsi:type="dcterms:W3CDTF">2022-07-29T16:1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019c027e-33b7-45fc-a572-8ffa5d09ec36_Enabled">
    <vt:lpwstr>true</vt:lpwstr>
  </property>
  <property fmtid="{D5CDD505-2E9C-101B-9397-08002B2CF9AE}" pid="4" name="MSIP_Label_019c027e-33b7-45fc-a572-8ffa5d09ec36_SetDate">
    <vt:lpwstr>2022-06-27T18:52:56Z</vt:lpwstr>
  </property>
  <property fmtid="{D5CDD505-2E9C-101B-9397-08002B2CF9AE}" pid="5" name="MSIP_Label_019c027e-33b7-45fc-a572-8ffa5d09ec36_Method">
    <vt:lpwstr>Standard</vt:lpwstr>
  </property>
  <property fmtid="{D5CDD505-2E9C-101B-9397-08002B2CF9AE}" pid="6" name="MSIP_Label_019c027e-33b7-45fc-a572-8ffa5d09ec36_Name">
    <vt:lpwstr>Internal Use</vt:lpwstr>
  </property>
  <property fmtid="{D5CDD505-2E9C-101B-9397-08002B2CF9AE}" pid="7" name="MSIP_Label_019c027e-33b7-45fc-a572-8ffa5d09ec36_SiteId">
    <vt:lpwstr>031a09bc-a2bf-44df-888e-4e09355b7a24</vt:lpwstr>
  </property>
  <property fmtid="{D5CDD505-2E9C-101B-9397-08002B2CF9AE}" pid="8" name="MSIP_Label_019c027e-33b7-45fc-a572-8ffa5d09ec36_ActionId">
    <vt:lpwstr>d323605f-5cf0-4b32-b61e-e96e81b6d43b</vt:lpwstr>
  </property>
  <property fmtid="{D5CDD505-2E9C-101B-9397-08002B2CF9AE}" pid="9" name="MSIP_Label_019c027e-33b7-45fc-a572-8ffa5d09ec36_ContentBits">
    <vt:lpwstr>2</vt:lpwstr>
  </property>
</Properties>
</file>